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1"/>
  </p:notesMasterIdLst>
  <p:sldIdLst>
    <p:sldId id="366" r:id="rId2"/>
    <p:sldId id="367" r:id="rId3"/>
    <p:sldId id="370" r:id="rId4"/>
    <p:sldId id="371" r:id="rId5"/>
    <p:sldId id="374" r:id="rId6"/>
    <p:sldId id="369" r:id="rId7"/>
    <p:sldId id="372" r:id="rId8"/>
    <p:sldId id="373" r:id="rId9"/>
    <p:sldId id="368" r:id="rId10"/>
  </p:sldIdLst>
  <p:sldSz cx="12192000" cy="6858000"/>
  <p:notesSz cx="6858000" cy="9144000"/>
  <p:embeddedFontLst>
    <p:embeddedFont>
      <p:font typeface="Rubik" panose="00000500000000000000" pitchFamily="50" charset="-79"/>
      <p:regular r:id="rId12"/>
      <p:bold r:id="rId13"/>
      <p:italic r:id="rId14"/>
    </p:embeddedFont>
    <p:embeddedFont>
      <p:font typeface="Trebuchet MS" panose="020B0603020202020204" pitchFamily="34" charset="0"/>
      <p:regular r:id="rId15"/>
      <p:bold r:id="rId16"/>
      <p:italic r:id="rId17"/>
      <p:boldItalic r:id="rId18"/>
    </p:embeddedFont>
  </p:embeddedFontLst>
  <p:custDataLst>
    <p:tags r:id="rId19"/>
  </p:custDataLst>
  <p:defaultTextStyle>
    <a:defPPr>
      <a:defRPr lang="en-US"/>
    </a:defPPr>
    <a:lvl1pPr marL="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91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83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74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664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4580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749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041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2332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93D81CF-94F2-401A-BA57-92F5A7B2D0C5}">
  <a:tblStyle styleId="{793D81CF-94F2-401A-BA57-92F5A7B2D0C5}" styleName="Medium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73A0DAA-6AF3-43AB-8588-CEC1D06C72B9}" styleName="Medium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chemeClr val="accent3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EC20E35-A176-4012-BC5E-935CFFF8708E}" styleName="Medium Style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7B26C5-4107-4FEC-AEDC-1716B250A1EF}" styleName="Light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3B4B98B0-60AC-42C2-AFA5-B58CD77FA1E5}" styleName="Light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C083E6E3-FA7D-4D7B-A595-EF9225AFEA82}" styleName="Light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D27102A9-8310-4765-A935-A1911B00CA55}" styleName="Light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FD0F851-EC5A-4D38-B0AD-8093EC10F338}" styleName="Light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68D230F3-CF80-4859-8CE7-A43EE81993B5}" styleName="Light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  <a:tblStyle styleId="{7E9639D4-E3E2-4D34-9284-5A2195B3D0D7}" styleName="Light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69012ECD-51FC-41F1-AA8D-1B2483CD663E}" styleName="Light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72833802-FEF1-4C79-8D5D-14CF1EAF98D9}" styleName="Light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F2DE63D5-997A-4646-A377-4702673A728D}" styleName="Light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17292A2E-F333-43FB-9621-5CBBE7FDCDCB}" styleName="Light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A111915-BE36-4E01-A7E5-04B1672EAD32}" styleName="Light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912C8C85-51F0-491E-9774-3900AFEF0FD7}" styleName="Light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howGuides="1">
      <p:cViewPr varScale="1">
        <p:scale>
          <a:sx n="77" d="100"/>
          <a:sy n="77" d="100"/>
        </p:scale>
        <p:origin x="912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" Type="http://schemas.openxmlformats.org/officeDocument/2006/relationships/slide" Target="slides/slide1.xml"/><Relationship Id="rId16" Type="http://schemas.openxmlformats.org/officeDocument/2006/relationships/font" Target="fonts/font5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24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font" Target="fonts/font4.fntdata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3.fntdata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eha, Neha" userId="b9e4bbd6-fdeb-44af-ab97-a2c53721413c" providerId="ADAL" clId="{D583282B-DE6A-4CD3-9774-37B98FD2084C}"/>
    <pc:docChg chg="undo custSel addSld modSld">
      <pc:chgData name="Neha, Neha" userId="b9e4bbd6-fdeb-44af-ab97-a2c53721413c" providerId="ADAL" clId="{D583282B-DE6A-4CD3-9774-37B98FD2084C}" dt="2022-01-30T18:00:57.108" v="823" actId="14100"/>
      <pc:docMkLst>
        <pc:docMk/>
      </pc:docMkLst>
      <pc:sldChg chg="modSp mod">
        <pc:chgData name="Neha, Neha" userId="b9e4bbd6-fdeb-44af-ab97-a2c53721413c" providerId="ADAL" clId="{D583282B-DE6A-4CD3-9774-37B98FD2084C}" dt="2022-01-30T17:00:04.754" v="29" actId="20577"/>
        <pc:sldMkLst>
          <pc:docMk/>
          <pc:sldMk cId="684571084" sldId="366"/>
        </pc:sldMkLst>
        <pc:spChg chg="mod">
          <ac:chgData name="Neha, Neha" userId="b9e4bbd6-fdeb-44af-ab97-a2c53721413c" providerId="ADAL" clId="{D583282B-DE6A-4CD3-9774-37B98FD2084C}" dt="2022-01-30T16:59:58.785" v="18" actId="20577"/>
          <ac:spMkLst>
            <pc:docMk/>
            <pc:sldMk cId="684571084" sldId="366"/>
            <ac:spMk id="16" creationId="{6D6DA9F7-DB64-4567-BE8E-E069C1B10127}"/>
          </ac:spMkLst>
        </pc:spChg>
        <pc:spChg chg="mod">
          <ac:chgData name="Neha, Neha" userId="b9e4bbd6-fdeb-44af-ab97-a2c53721413c" providerId="ADAL" clId="{D583282B-DE6A-4CD3-9774-37B98FD2084C}" dt="2022-01-30T17:00:04.754" v="29" actId="20577"/>
          <ac:spMkLst>
            <pc:docMk/>
            <pc:sldMk cId="684571084" sldId="366"/>
            <ac:spMk id="18" creationId="{1A8455E1-E124-45CE-B4DD-AE99CCF9A248}"/>
          </ac:spMkLst>
        </pc:spChg>
      </pc:sldChg>
      <pc:sldChg chg="modSp mod">
        <pc:chgData name="Neha, Neha" userId="b9e4bbd6-fdeb-44af-ab97-a2c53721413c" providerId="ADAL" clId="{D583282B-DE6A-4CD3-9774-37B98FD2084C}" dt="2022-01-30T17:02:19.465" v="73" actId="6549"/>
        <pc:sldMkLst>
          <pc:docMk/>
          <pc:sldMk cId="1022597847" sldId="367"/>
        </pc:sldMkLst>
        <pc:spChg chg="mod">
          <ac:chgData name="Neha, Neha" userId="b9e4bbd6-fdeb-44af-ab97-a2c53721413c" providerId="ADAL" clId="{D583282B-DE6A-4CD3-9774-37B98FD2084C}" dt="2022-01-30T17:00:17.011" v="48" actId="20577"/>
          <ac:spMkLst>
            <pc:docMk/>
            <pc:sldMk cId="1022597847" sldId="367"/>
            <ac:spMk id="2" creationId="{6F28F343-BA60-4E08-9E39-5B5A8795CDA4}"/>
          </ac:spMkLst>
        </pc:spChg>
        <pc:spChg chg="mod">
          <ac:chgData name="Neha, Neha" userId="b9e4bbd6-fdeb-44af-ab97-a2c53721413c" providerId="ADAL" clId="{D583282B-DE6A-4CD3-9774-37B98FD2084C}" dt="2022-01-30T17:02:19.465" v="73" actId="6549"/>
          <ac:spMkLst>
            <pc:docMk/>
            <pc:sldMk cId="1022597847" sldId="367"/>
            <ac:spMk id="6" creationId="{525CBB0E-B869-4882-8948-65DD257EDC97}"/>
          </ac:spMkLst>
        </pc:spChg>
      </pc:sldChg>
      <pc:sldChg chg="addSp delSp modSp mod">
        <pc:chgData name="Neha, Neha" userId="b9e4bbd6-fdeb-44af-ab97-a2c53721413c" providerId="ADAL" clId="{D583282B-DE6A-4CD3-9774-37B98FD2084C}" dt="2022-01-30T17:50:00.597" v="737" actId="1076"/>
        <pc:sldMkLst>
          <pc:docMk/>
          <pc:sldMk cId="1336772705" sldId="369"/>
        </pc:sldMkLst>
        <pc:spChg chg="mod">
          <ac:chgData name="Neha, Neha" userId="b9e4bbd6-fdeb-44af-ab97-a2c53721413c" providerId="ADAL" clId="{D583282B-DE6A-4CD3-9774-37B98FD2084C}" dt="2022-01-30T17:49:51.443" v="732" actId="20577"/>
          <ac:spMkLst>
            <pc:docMk/>
            <pc:sldMk cId="1336772705" sldId="369"/>
            <ac:spMk id="6" creationId="{8300A30E-56D3-4B3A-8CDB-4EC8BF085B07}"/>
          </ac:spMkLst>
        </pc:spChg>
        <pc:picChg chg="del">
          <ac:chgData name="Neha, Neha" userId="b9e4bbd6-fdeb-44af-ab97-a2c53721413c" providerId="ADAL" clId="{D583282B-DE6A-4CD3-9774-37B98FD2084C}" dt="2022-01-30T17:49:46.831" v="731" actId="478"/>
          <ac:picMkLst>
            <pc:docMk/>
            <pc:sldMk cId="1336772705" sldId="369"/>
            <ac:picMk id="8" creationId="{C504F5C6-9544-4103-BA0D-C58F9B336748}"/>
          </ac:picMkLst>
        </pc:picChg>
        <pc:picChg chg="add del">
          <ac:chgData name="Neha, Neha" userId="b9e4bbd6-fdeb-44af-ab97-a2c53721413c" providerId="ADAL" clId="{D583282B-DE6A-4CD3-9774-37B98FD2084C}" dt="2022-01-30T17:49:45.565" v="730" actId="22"/>
          <ac:picMkLst>
            <pc:docMk/>
            <pc:sldMk cId="1336772705" sldId="369"/>
            <ac:picMk id="9" creationId="{75175917-CC24-4059-BAF9-BF38A2F43647}"/>
          </ac:picMkLst>
        </pc:picChg>
        <pc:picChg chg="add mod">
          <ac:chgData name="Neha, Neha" userId="b9e4bbd6-fdeb-44af-ab97-a2c53721413c" providerId="ADAL" clId="{D583282B-DE6A-4CD3-9774-37B98FD2084C}" dt="2022-01-30T17:50:00.597" v="737" actId="1076"/>
          <ac:picMkLst>
            <pc:docMk/>
            <pc:sldMk cId="1336772705" sldId="369"/>
            <ac:picMk id="11" creationId="{A869C551-0E23-41CB-8DEC-875CFA8DBBC7}"/>
          </ac:picMkLst>
        </pc:picChg>
      </pc:sldChg>
      <pc:sldChg chg="modSp mod">
        <pc:chgData name="Neha, Neha" userId="b9e4bbd6-fdeb-44af-ab97-a2c53721413c" providerId="ADAL" clId="{D583282B-DE6A-4CD3-9774-37B98FD2084C}" dt="2022-01-30T17:41:17.424" v="426" actId="113"/>
        <pc:sldMkLst>
          <pc:docMk/>
          <pc:sldMk cId="434917263" sldId="370"/>
        </pc:sldMkLst>
        <pc:spChg chg="mod">
          <ac:chgData name="Neha, Neha" userId="b9e4bbd6-fdeb-44af-ab97-a2c53721413c" providerId="ADAL" clId="{D583282B-DE6A-4CD3-9774-37B98FD2084C}" dt="2022-01-30T17:02:27.514" v="81" actId="20577"/>
          <ac:spMkLst>
            <pc:docMk/>
            <pc:sldMk cId="434917263" sldId="370"/>
            <ac:spMk id="2" creationId="{0182FEB1-EE72-47B7-AA25-E5AE4970B967}"/>
          </ac:spMkLst>
        </pc:spChg>
        <pc:spChg chg="mod">
          <ac:chgData name="Neha, Neha" userId="b9e4bbd6-fdeb-44af-ab97-a2c53721413c" providerId="ADAL" clId="{D583282B-DE6A-4CD3-9774-37B98FD2084C}" dt="2022-01-30T17:41:17.424" v="426" actId="113"/>
          <ac:spMkLst>
            <pc:docMk/>
            <pc:sldMk cId="434917263" sldId="370"/>
            <ac:spMk id="6" creationId="{41F289B5-D325-4C01-B093-D26564BA57DB}"/>
          </ac:spMkLst>
        </pc:spChg>
      </pc:sldChg>
      <pc:sldChg chg="modSp mod">
        <pc:chgData name="Neha, Neha" userId="b9e4bbd6-fdeb-44af-ab97-a2c53721413c" providerId="ADAL" clId="{D583282B-DE6A-4CD3-9774-37B98FD2084C}" dt="2022-01-30T17:46:24.530" v="595" actId="20577"/>
        <pc:sldMkLst>
          <pc:docMk/>
          <pc:sldMk cId="3724619332" sldId="371"/>
        </pc:sldMkLst>
        <pc:spChg chg="mod">
          <ac:chgData name="Neha, Neha" userId="b9e4bbd6-fdeb-44af-ab97-a2c53721413c" providerId="ADAL" clId="{D583282B-DE6A-4CD3-9774-37B98FD2084C}" dt="2022-01-30T17:46:24.530" v="595" actId="20577"/>
          <ac:spMkLst>
            <pc:docMk/>
            <pc:sldMk cId="3724619332" sldId="371"/>
            <ac:spMk id="2" creationId="{292ADDDD-A891-4A96-BBFF-6051DCDD7578}"/>
          </ac:spMkLst>
        </pc:spChg>
        <pc:spChg chg="mod">
          <ac:chgData name="Neha, Neha" userId="b9e4bbd6-fdeb-44af-ab97-a2c53721413c" providerId="ADAL" clId="{D583282B-DE6A-4CD3-9774-37B98FD2084C}" dt="2022-01-30T17:46:03.400" v="586" actId="113"/>
          <ac:spMkLst>
            <pc:docMk/>
            <pc:sldMk cId="3724619332" sldId="371"/>
            <ac:spMk id="6" creationId="{DADE0BBD-FBB8-48EA-A1ED-CF320C1A8B3E}"/>
          </ac:spMkLst>
        </pc:spChg>
      </pc:sldChg>
      <pc:sldChg chg="addSp delSp modSp mod">
        <pc:chgData name="Neha, Neha" userId="b9e4bbd6-fdeb-44af-ab97-a2c53721413c" providerId="ADAL" clId="{D583282B-DE6A-4CD3-9774-37B98FD2084C}" dt="2022-01-30T17:58:34.789" v="784" actId="14100"/>
        <pc:sldMkLst>
          <pc:docMk/>
          <pc:sldMk cId="2611579609" sldId="372"/>
        </pc:sldMkLst>
        <pc:spChg chg="mod">
          <ac:chgData name="Neha, Neha" userId="b9e4bbd6-fdeb-44af-ab97-a2c53721413c" providerId="ADAL" clId="{D583282B-DE6A-4CD3-9774-37B98FD2084C}" dt="2022-01-30T17:58:22.084" v="779" actId="1076"/>
          <ac:spMkLst>
            <pc:docMk/>
            <pc:sldMk cId="2611579609" sldId="372"/>
            <ac:spMk id="6" creationId="{26AFBC50-FE0B-4A3A-999D-42D3B9C0FD7D}"/>
          </ac:spMkLst>
        </pc:spChg>
        <pc:picChg chg="del">
          <ac:chgData name="Neha, Neha" userId="b9e4bbd6-fdeb-44af-ab97-a2c53721413c" providerId="ADAL" clId="{D583282B-DE6A-4CD3-9774-37B98FD2084C}" dt="2022-01-30T17:58:19.135" v="778" actId="478"/>
          <ac:picMkLst>
            <pc:docMk/>
            <pc:sldMk cId="2611579609" sldId="372"/>
            <ac:picMk id="8" creationId="{1C9FDA80-6318-4AA2-B7E0-CC1B20E4BFCE}"/>
          </ac:picMkLst>
        </pc:picChg>
        <pc:picChg chg="add mod">
          <ac:chgData name="Neha, Neha" userId="b9e4bbd6-fdeb-44af-ab97-a2c53721413c" providerId="ADAL" clId="{D583282B-DE6A-4CD3-9774-37B98FD2084C}" dt="2022-01-30T17:58:34.789" v="784" actId="14100"/>
          <ac:picMkLst>
            <pc:docMk/>
            <pc:sldMk cId="2611579609" sldId="372"/>
            <ac:picMk id="9" creationId="{F99971BB-2008-4A15-8825-F6515CA0B617}"/>
          </ac:picMkLst>
        </pc:picChg>
      </pc:sldChg>
      <pc:sldChg chg="addSp delSp modSp mod">
        <pc:chgData name="Neha, Neha" userId="b9e4bbd6-fdeb-44af-ab97-a2c53721413c" providerId="ADAL" clId="{D583282B-DE6A-4CD3-9774-37B98FD2084C}" dt="2022-01-30T18:00:57.108" v="823" actId="14100"/>
        <pc:sldMkLst>
          <pc:docMk/>
          <pc:sldMk cId="646326472" sldId="373"/>
        </pc:sldMkLst>
        <pc:spChg chg="mod">
          <ac:chgData name="Neha, Neha" userId="b9e4bbd6-fdeb-44af-ab97-a2c53721413c" providerId="ADAL" clId="{D583282B-DE6A-4CD3-9774-37B98FD2084C}" dt="2022-01-30T17:58:49.956" v="803" actId="20577"/>
          <ac:spMkLst>
            <pc:docMk/>
            <pc:sldMk cId="646326472" sldId="373"/>
            <ac:spMk id="6" creationId="{25E50E54-6FFA-44C9-B8C6-0C86D7A8BB6D}"/>
          </ac:spMkLst>
        </pc:spChg>
        <pc:picChg chg="del">
          <ac:chgData name="Neha, Neha" userId="b9e4bbd6-fdeb-44af-ab97-a2c53721413c" providerId="ADAL" clId="{D583282B-DE6A-4CD3-9774-37B98FD2084C}" dt="2022-01-30T17:59:25.467" v="804" actId="478"/>
          <ac:picMkLst>
            <pc:docMk/>
            <pc:sldMk cId="646326472" sldId="373"/>
            <ac:picMk id="8" creationId="{50FA02ED-F80E-4E44-B06A-49E63AA93454}"/>
          </ac:picMkLst>
        </pc:picChg>
        <pc:picChg chg="add mod">
          <ac:chgData name="Neha, Neha" userId="b9e4bbd6-fdeb-44af-ab97-a2c53721413c" providerId="ADAL" clId="{D583282B-DE6A-4CD3-9774-37B98FD2084C}" dt="2022-01-30T17:59:33.758" v="809" actId="1076"/>
          <ac:picMkLst>
            <pc:docMk/>
            <pc:sldMk cId="646326472" sldId="373"/>
            <ac:picMk id="9" creationId="{2C82DEED-DD26-48A5-920B-22A54363631C}"/>
          </ac:picMkLst>
        </pc:picChg>
        <pc:picChg chg="del">
          <ac:chgData name="Neha, Neha" userId="b9e4bbd6-fdeb-44af-ab97-a2c53721413c" providerId="ADAL" clId="{D583282B-DE6A-4CD3-9774-37B98FD2084C}" dt="2022-01-30T17:59:38.311" v="810" actId="478"/>
          <ac:picMkLst>
            <pc:docMk/>
            <pc:sldMk cId="646326472" sldId="373"/>
            <ac:picMk id="10" creationId="{FDFEFAA7-69FB-42B8-ABA1-5F3B33177955}"/>
          </ac:picMkLst>
        </pc:picChg>
        <pc:picChg chg="add mod">
          <ac:chgData name="Neha, Neha" userId="b9e4bbd6-fdeb-44af-ab97-a2c53721413c" providerId="ADAL" clId="{D583282B-DE6A-4CD3-9774-37B98FD2084C}" dt="2022-01-30T18:00:20.060" v="817" actId="14100"/>
          <ac:picMkLst>
            <pc:docMk/>
            <pc:sldMk cId="646326472" sldId="373"/>
            <ac:picMk id="12" creationId="{6C245222-FE8C-41CF-A510-0B13F5F900BD}"/>
          </ac:picMkLst>
        </pc:picChg>
        <pc:picChg chg="add mod">
          <ac:chgData name="Neha, Neha" userId="b9e4bbd6-fdeb-44af-ab97-a2c53721413c" providerId="ADAL" clId="{D583282B-DE6A-4CD3-9774-37B98FD2084C}" dt="2022-01-30T18:00:57.108" v="823" actId="14100"/>
          <ac:picMkLst>
            <pc:docMk/>
            <pc:sldMk cId="646326472" sldId="373"/>
            <ac:picMk id="14" creationId="{136EF732-D8CE-4169-8329-A96291E740E7}"/>
          </ac:picMkLst>
        </pc:picChg>
      </pc:sldChg>
      <pc:sldChg chg="modSp new mod">
        <pc:chgData name="Neha, Neha" userId="b9e4bbd6-fdeb-44af-ab97-a2c53721413c" providerId="ADAL" clId="{D583282B-DE6A-4CD3-9774-37B98FD2084C}" dt="2022-01-30T17:49:10.498" v="728" actId="113"/>
        <pc:sldMkLst>
          <pc:docMk/>
          <pc:sldMk cId="4173938190" sldId="374"/>
        </pc:sldMkLst>
        <pc:spChg chg="mod">
          <ac:chgData name="Neha, Neha" userId="b9e4bbd6-fdeb-44af-ab97-a2c53721413c" providerId="ADAL" clId="{D583282B-DE6A-4CD3-9774-37B98FD2084C}" dt="2022-01-30T17:46:30.130" v="603" actId="20577"/>
          <ac:spMkLst>
            <pc:docMk/>
            <pc:sldMk cId="4173938190" sldId="374"/>
            <ac:spMk id="2" creationId="{B41A13F8-3FC1-485F-A700-47A2D6AA10B4}"/>
          </ac:spMkLst>
        </pc:spChg>
        <pc:spChg chg="mod">
          <ac:chgData name="Neha, Neha" userId="b9e4bbd6-fdeb-44af-ab97-a2c53721413c" providerId="ADAL" clId="{D583282B-DE6A-4CD3-9774-37B98FD2084C}" dt="2022-01-30T17:46:38.984" v="604"/>
          <ac:spMkLst>
            <pc:docMk/>
            <pc:sldMk cId="4173938190" sldId="374"/>
            <ac:spMk id="5" creationId="{0C6057A4-B233-4016-A562-37DA8EFF5668}"/>
          </ac:spMkLst>
        </pc:spChg>
        <pc:spChg chg="mod">
          <ac:chgData name="Neha, Neha" userId="b9e4bbd6-fdeb-44af-ab97-a2c53721413c" providerId="ADAL" clId="{D583282B-DE6A-4CD3-9774-37B98FD2084C}" dt="2022-01-30T17:49:10.498" v="728" actId="113"/>
          <ac:spMkLst>
            <pc:docMk/>
            <pc:sldMk cId="4173938190" sldId="374"/>
            <ac:spMk id="6" creationId="{420F9134-DFA7-4F35-9CB2-A5FBA0E265F4}"/>
          </ac:spMkLst>
        </pc:spChg>
      </pc:sldChg>
    </pc:docChg>
  </pc:docChgLst>
  <pc:docChgLst>
    <pc:chgData name="Neha, Neha" userId="b9e4bbd6-fdeb-44af-ab97-a2c53721413c" providerId="ADAL" clId="{3E15ADCE-8E0B-48A0-98D4-A9E5D236B79A}"/>
    <pc:docChg chg="undo redo custSel addSld modSld">
      <pc:chgData name="Neha, Neha" userId="b9e4bbd6-fdeb-44af-ab97-a2c53721413c" providerId="ADAL" clId="{3E15ADCE-8E0B-48A0-98D4-A9E5D236B79A}" dt="2022-01-30T07:03:18.829" v="1161" actId="20577"/>
      <pc:docMkLst>
        <pc:docMk/>
      </pc:docMkLst>
      <pc:sldChg chg="delSp modSp mod">
        <pc:chgData name="Neha, Neha" userId="b9e4bbd6-fdeb-44af-ab97-a2c53721413c" providerId="ADAL" clId="{3E15ADCE-8E0B-48A0-98D4-A9E5D236B79A}" dt="2022-01-27T08:13:07.088" v="112" actId="113"/>
        <pc:sldMkLst>
          <pc:docMk/>
          <pc:sldMk cId="684571084" sldId="366"/>
        </pc:sldMkLst>
        <pc:spChg chg="mod">
          <ac:chgData name="Neha, Neha" userId="b9e4bbd6-fdeb-44af-ab97-a2c53721413c" providerId="ADAL" clId="{3E15ADCE-8E0B-48A0-98D4-A9E5D236B79A}" dt="2022-01-27T08:10:08.534" v="11" actId="20577"/>
          <ac:spMkLst>
            <pc:docMk/>
            <pc:sldMk cId="684571084" sldId="366"/>
            <ac:spMk id="16" creationId="{6D6DA9F7-DB64-4567-BE8E-E069C1B10127}"/>
          </ac:spMkLst>
        </pc:spChg>
        <pc:spChg chg="del mod">
          <ac:chgData name="Neha, Neha" userId="b9e4bbd6-fdeb-44af-ab97-a2c53721413c" providerId="ADAL" clId="{3E15ADCE-8E0B-48A0-98D4-A9E5D236B79A}" dt="2022-01-27T08:12:38.189" v="86" actId="478"/>
          <ac:spMkLst>
            <pc:docMk/>
            <pc:sldMk cId="684571084" sldId="366"/>
            <ac:spMk id="17" creationId="{86EFEFE6-40D8-4F98-A8DC-DB4A69331A78}"/>
          </ac:spMkLst>
        </pc:spChg>
        <pc:spChg chg="mod">
          <ac:chgData name="Neha, Neha" userId="b9e4bbd6-fdeb-44af-ab97-a2c53721413c" providerId="ADAL" clId="{3E15ADCE-8E0B-48A0-98D4-A9E5D236B79A}" dt="2022-01-27T08:13:07.088" v="112" actId="113"/>
          <ac:spMkLst>
            <pc:docMk/>
            <pc:sldMk cId="684571084" sldId="366"/>
            <ac:spMk id="18" creationId="{1A8455E1-E124-45CE-B4DD-AE99CCF9A248}"/>
          </ac:spMkLst>
        </pc:spChg>
      </pc:sldChg>
      <pc:sldChg chg="modSp mod">
        <pc:chgData name="Neha, Neha" userId="b9e4bbd6-fdeb-44af-ab97-a2c53721413c" providerId="ADAL" clId="{3E15ADCE-8E0B-48A0-98D4-A9E5D236B79A}" dt="2022-01-27T09:51:32.548" v="727" actId="21"/>
        <pc:sldMkLst>
          <pc:docMk/>
          <pc:sldMk cId="1022597847" sldId="367"/>
        </pc:sldMkLst>
        <pc:spChg chg="mod">
          <ac:chgData name="Neha, Neha" userId="b9e4bbd6-fdeb-44af-ab97-a2c53721413c" providerId="ADAL" clId="{3E15ADCE-8E0B-48A0-98D4-A9E5D236B79A}" dt="2022-01-27T08:13:28.137" v="123" actId="20577"/>
          <ac:spMkLst>
            <pc:docMk/>
            <pc:sldMk cId="1022597847" sldId="367"/>
            <ac:spMk id="2" creationId="{6F28F343-BA60-4E08-9E39-5B5A8795CDA4}"/>
          </ac:spMkLst>
        </pc:spChg>
        <pc:spChg chg="mod">
          <ac:chgData name="Neha, Neha" userId="b9e4bbd6-fdeb-44af-ab97-a2c53721413c" providerId="ADAL" clId="{3E15ADCE-8E0B-48A0-98D4-A9E5D236B79A}" dt="2022-01-27T09:51:32.548" v="727" actId="21"/>
          <ac:spMkLst>
            <pc:docMk/>
            <pc:sldMk cId="1022597847" sldId="367"/>
            <ac:spMk id="6" creationId="{525CBB0E-B869-4882-8948-65DD257EDC97}"/>
          </ac:spMkLst>
        </pc:spChg>
      </pc:sldChg>
      <pc:sldChg chg="addSp modSp mod">
        <pc:chgData name="Neha, Neha" userId="b9e4bbd6-fdeb-44af-ab97-a2c53721413c" providerId="ADAL" clId="{3E15ADCE-8E0B-48A0-98D4-A9E5D236B79A}" dt="2022-01-27T10:25:21.707" v="1031" actId="14100"/>
        <pc:sldMkLst>
          <pc:docMk/>
          <pc:sldMk cId="1336772705" sldId="369"/>
        </pc:sldMkLst>
        <pc:spChg chg="mod">
          <ac:chgData name="Neha, Neha" userId="b9e4bbd6-fdeb-44af-ab97-a2c53721413c" providerId="ADAL" clId="{3E15ADCE-8E0B-48A0-98D4-A9E5D236B79A}" dt="2022-01-27T10:22:27.283" v="1026" actId="5793"/>
          <ac:spMkLst>
            <pc:docMk/>
            <pc:sldMk cId="1336772705" sldId="369"/>
            <ac:spMk id="6" creationId="{8300A30E-56D3-4B3A-8CDB-4EC8BF085B07}"/>
          </ac:spMkLst>
        </pc:spChg>
        <pc:picChg chg="add mod">
          <ac:chgData name="Neha, Neha" userId="b9e4bbd6-fdeb-44af-ab97-a2c53721413c" providerId="ADAL" clId="{3E15ADCE-8E0B-48A0-98D4-A9E5D236B79A}" dt="2022-01-27T10:25:21.707" v="1031" actId="14100"/>
          <ac:picMkLst>
            <pc:docMk/>
            <pc:sldMk cId="1336772705" sldId="369"/>
            <ac:picMk id="8" creationId="{C504F5C6-9544-4103-BA0D-C58F9B336748}"/>
          </ac:picMkLst>
        </pc:picChg>
      </pc:sldChg>
      <pc:sldChg chg="modSp new mod">
        <pc:chgData name="Neha, Neha" userId="b9e4bbd6-fdeb-44af-ab97-a2c53721413c" providerId="ADAL" clId="{3E15ADCE-8E0B-48A0-98D4-A9E5D236B79A}" dt="2022-01-30T07:03:18.829" v="1161" actId="20577"/>
        <pc:sldMkLst>
          <pc:docMk/>
          <pc:sldMk cId="434917263" sldId="370"/>
        </pc:sldMkLst>
        <pc:spChg chg="mod">
          <ac:chgData name="Neha, Neha" userId="b9e4bbd6-fdeb-44af-ab97-a2c53721413c" providerId="ADAL" clId="{3E15ADCE-8E0B-48A0-98D4-A9E5D236B79A}" dt="2022-01-27T09:52:21.450" v="802" actId="6549"/>
          <ac:spMkLst>
            <pc:docMk/>
            <pc:sldMk cId="434917263" sldId="370"/>
            <ac:spMk id="2" creationId="{0182FEB1-EE72-47B7-AA25-E5AE4970B967}"/>
          </ac:spMkLst>
        </pc:spChg>
        <pc:spChg chg="mod">
          <ac:chgData name="Neha, Neha" userId="b9e4bbd6-fdeb-44af-ab97-a2c53721413c" providerId="ADAL" clId="{3E15ADCE-8E0B-48A0-98D4-A9E5D236B79A}" dt="2022-01-27T09:54:23.327" v="858" actId="1076"/>
          <ac:spMkLst>
            <pc:docMk/>
            <pc:sldMk cId="434917263" sldId="370"/>
            <ac:spMk id="5" creationId="{365CE6EB-0A29-4D18-B596-D4582C0FD22B}"/>
          </ac:spMkLst>
        </pc:spChg>
        <pc:spChg chg="mod">
          <ac:chgData name="Neha, Neha" userId="b9e4bbd6-fdeb-44af-ab97-a2c53721413c" providerId="ADAL" clId="{3E15ADCE-8E0B-48A0-98D4-A9E5D236B79A}" dt="2022-01-30T07:03:18.829" v="1161" actId="20577"/>
          <ac:spMkLst>
            <pc:docMk/>
            <pc:sldMk cId="434917263" sldId="370"/>
            <ac:spMk id="6" creationId="{41F289B5-D325-4C01-B093-D26564BA57DB}"/>
          </ac:spMkLst>
        </pc:spChg>
      </pc:sldChg>
      <pc:sldChg chg="modSp new mod">
        <pc:chgData name="Neha, Neha" userId="b9e4bbd6-fdeb-44af-ab97-a2c53721413c" providerId="ADAL" clId="{3E15ADCE-8E0B-48A0-98D4-A9E5D236B79A}" dt="2022-01-27T10:01:39.433" v="962" actId="113"/>
        <pc:sldMkLst>
          <pc:docMk/>
          <pc:sldMk cId="3724619332" sldId="371"/>
        </pc:sldMkLst>
        <pc:spChg chg="mod">
          <ac:chgData name="Neha, Neha" userId="b9e4bbd6-fdeb-44af-ab97-a2c53721413c" providerId="ADAL" clId="{3E15ADCE-8E0B-48A0-98D4-A9E5D236B79A}" dt="2022-01-27T09:57:08.770" v="875"/>
          <ac:spMkLst>
            <pc:docMk/>
            <pc:sldMk cId="3724619332" sldId="371"/>
            <ac:spMk id="2" creationId="{292ADDDD-A891-4A96-BBFF-6051DCDD7578}"/>
          </ac:spMkLst>
        </pc:spChg>
        <pc:spChg chg="mod">
          <ac:chgData name="Neha, Neha" userId="b9e4bbd6-fdeb-44af-ab97-a2c53721413c" providerId="ADAL" clId="{3E15ADCE-8E0B-48A0-98D4-A9E5D236B79A}" dt="2022-01-27T09:57:19.081" v="876"/>
          <ac:spMkLst>
            <pc:docMk/>
            <pc:sldMk cId="3724619332" sldId="371"/>
            <ac:spMk id="5" creationId="{8DA961D8-7055-42C2-9A86-387EB0F66CD3}"/>
          </ac:spMkLst>
        </pc:spChg>
        <pc:spChg chg="mod">
          <ac:chgData name="Neha, Neha" userId="b9e4bbd6-fdeb-44af-ab97-a2c53721413c" providerId="ADAL" clId="{3E15ADCE-8E0B-48A0-98D4-A9E5D236B79A}" dt="2022-01-27T10:01:39.433" v="962" actId="113"/>
          <ac:spMkLst>
            <pc:docMk/>
            <pc:sldMk cId="3724619332" sldId="371"/>
            <ac:spMk id="6" creationId="{DADE0BBD-FBB8-48EA-A1ED-CF320C1A8B3E}"/>
          </ac:spMkLst>
        </pc:spChg>
      </pc:sldChg>
      <pc:sldChg chg="addSp modSp new mod">
        <pc:chgData name="Neha, Neha" userId="b9e4bbd6-fdeb-44af-ab97-a2c53721413c" providerId="ADAL" clId="{3E15ADCE-8E0B-48A0-98D4-A9E5D236B79A}" dt="2022-01-30T06:52:20.150" v="1070" actId="14100"/>
        <pc:sldMkLst>
          <pc:docMk/>
          <pc:sldMk cId="2611579609" sldId="372"/>
        </pc:sldMkLst>
        <pc:spChg chg="mod">
          <ac:chgData name="Neha, Neha" userId="b9e4bbd6-fdeb-44af-ab97-a2c53721413c" providerId="ADAL" clId="{3E15ADCE-8E0B-48A0-98D4-A9E5D236B79A}" dt="2022-01-27T10:26:09.167" v="1064"/>
          <ac:spMkLst>
            <pc:docMk/>
            <pc:sldMk cId="2611579609" sldId="372"/>
            <ac:spMk id="2" creationId="{FE57FF23-3A5C-419C-A75D-70285F9D10D2}"/>
          </ac:spMkLst>
        </pc:spChg>
        <pc:spChg chg="mod">
          <ac:chgData name="Neha, Neha" userId="b9e4bbd6-fdeb-44af-ab97-a2c53721413c" providerId="ADAL" clId="{3E15ADCE-8E0B-48A0-98D4-A9E5D236B79A}" dt="2022-01-30T06:52:04.566" v="1065" actId="20577"/>
          <ac:spMkLst>
            <pc:docMk/>
            <pc:sldMk cId="2611579609" sldId="372"/>
            <ac:spMk id="6" creationId="{26AFBC50-FE0B-4A3A-999D-42D3B9C0FD7D}"/>
          </ac:spMkLst>
        </pc:spChg>
        <pc:picChg chg="add mod">
          <ac:chgData name="Neha, Neha" userId="b9e4bbd6-fdeb-44af-ab97-a2c53721413c" providerId="ADAL" clId="{3E15ADCE-8E0B-48A0-98D4-A9E5D236B79A}" dt="2022-01-30T06:52:20.150" v="1070" actId="14100"/>
          <ac:picMkLst>
            <pc:docMk/>
            <pc:sldMk cId="2611579609" sldId="372"/>
            <ac:picMk id="8" creationId="{1C9FDA80-6318-4AA2-B7E0-CC1B20E4BFCE}"/>
          </ac:picMkLst>
        </pc:picChg>
      </pc:sldChg>
      <pc:sldChg chg="addSp modSp new mod">
        <pc:chgData name="Neha, Neha" userId="b9e4bbd6-fdeb-44af-ab97-a2c53721413c" providerId="ADAL" clId="{3E15ADCE-8E0B-48A0-98D4-A9E5D236B79A}" dt="2022-01-30T06:55:07.823" v="1159" actId="14100"/>
        <pc:sldMkLst>
          <pc:docMk/>
          <pc:sldMk cId="646326472" sldId="373"/>
        </pc:sldMkLst>
        <pc:spChg chg="mod">
          <ac:chgData name="Neha, Neha" userId="b9e4bbd6-fdeb-44af-ab97-a2c53721413c" providerId="ADAL" clId="{3E15ADCE-8E0B-48A0-98D4-A9E5D236B79A}" dt="2022-01-30T06:52:38.091" v="1072"/>
          <ac:spMkLst>
            <pc:docMk/>
            <pc:sldMk cId="646326472" sldId="373"/>
            <ac:spMk id="2" creationId="{228F06EE-2FE2-41A6-8D47-898404C645C4}"/>
          </ac:spMkLst>
        </pc:spChg>
        <pc:spChg chg="mod">
          <ac:chgData name="Neha, Neha" userId="b9e4bbd6-fdeb-44af-ab97-a2c53721413c" providerId="ADAL" clId="{3E15ADCE-8E0B-48A0-98D4-A9E5D236B79A}" dt="2022-01-30T06:54:29.210" v="1148" actId="20577"/>
          <ac:spMkLst>
            <pc:docMk/>
            <pc:sldMk cId="646326472" sldId="373"/>
            <ac:spMk id="6" creationId="{25E50E54-6FFA-44C9-B8C6-0C86D7A8BB6D}"/>
          </ac:spMkLst>
        </pc:spChg>
        <pc:picChg chg="add mod">
          <ac:chgData name="Neha, Neha" userId="b9e4bbd6-fdeb-44af-ab97-a2c53721413c" providerId="ADAL" clId="{3E15ADCE-8E0B-48A0-98D4-A9E5D236B79A}" dt="2022-01-30T06:54:35.877" v="1151" actId="1076"/>
          <ac:picMkLst>
            <pc:docMk/>
            <pc:sldMk cId="646326472" sldId="373"/>
            <ac:picMk id="8" creationId="{50FA02ED-F80E-4E44-B06A-49E63AA93454}"/>
          </ac:picMkLst>
        </pc:picChg>
        <pc:picChg chg="add mod">
          <ac:chgData name="Neha, Neha" userId="b9e4bbd6-fdeb-44af-ab97-a2c53721413c" providerId="ADAL" clId="{3E15ADCE-8E0B-48A0-98D4-A9E5D236B79A}" dt="2022-01-30T06:55:07.823" v="1159" actId="14100"/>
          <ac:picMkLst>
            <pc:docMk/>
            <pc:sldMk cId="646326472" sldId="373"/>
            <ac:picMk id="10" creationId="{FDFEFAA7-69FB-42B8-ABA1-5F3B33177955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CFA44459-8680-4AD3-8D18-9EF0845F156E}" type="datetimeFigureOut">
              <a:rPr lang="en-US"/>
              <a:pPr/>
              <a:t>1/30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83316E30-EEB7-4740-B0AB-5BFB7F8E576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9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5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071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748832CA-DCD2-41B3-96D1-6E92E8FA8B22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 baseline="0"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</p:spTree>
    <p:extLst>
      <p:ext uri="{BB962C8B-B14F-4D97-AF65-F5344CB8AC3E}">
        <p14:creationId xmlns:p14="http://schemas.microsoft.com/office/powerpoint/2010/main" val="75687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 userDrawn="1"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 userDrawn="1"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 userDrawn="1"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 userDrawn="1"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</p:spTree>
    <p:extLst>
      <p:ext uri="{BB962C8B-B14F-4D97-AF65-F5344CB8AC3E}">
        <p14:creationId xmlns:p14="http://schemas.microsoft.com/office/powerpoint/2010/main" val="35310870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1942" userDrawn="1">
          <p15:clr>
            <a:srgbClr val="547EBF"/>
          </p15:clr>
        </p15:guide>
        <p15:guide id="8" pos="2064" userDrawn="1">
          <p15:clr>
            <a:srgbClr val="547EBF"/>
          </p15:clr>
        </p15:guide>
        <p15:guide id="9" pos="3779" userDrawn="1">
          <p15:clr>
            <a:srgbClr val="547EBF"/>
          </p15:clr>
        </p15:guide>
        <p15:guide id="10" pos="3901" userDrawn="1">
          <p15:clr>
            <a:srgbClr val="547EBF"/>
          </p15:clr>
        </p15:guide>
        <p15:guide id="11" pos="5616" userDrawn="1">
          <p15:clr>
            <a:srgbClr val="547EBF"/>
          </p15:clr>
        </p15:guide>
        <p15:guide id="12" pos="5738" userDrawn="1">
          <p15:clr>
            <a:srgbClr val="547EBF"/>
          </p15:clr>
        </p15:guide>
        <p15:guide id="13" orient="horz" pos="3874" userDrawn="1">
          <p15:clr>
            <a:srgbClr val="547EBF"/>
          </p15:clr>
        </p15:guide>
        <p15:guide id="14" orient="horz" pos="3997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FF37C1-E41C-4317-A626-67E24CE671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4F8E4D-0C8B-4F57-A860-37E36F7E9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A31AC3-8B30-487A-888B-DF7B0C777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</p:spTree>
    <p:extLst>
      <p:ext uri="{BB962C8B-B14F-4D97-AF65-F5344CB8AC3E}">
        <p14:creationId xmlns:p14="http://schemas.microsoft.com/office/powerpoint/2010/main" val="342558195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139" userDrawn="1">
          <p15:clr>
            <a:srgbClr val="547EBF"/>
          </p15:clr>
        </p15:guide>
        <p15:guide id="3" pos="7452" userDrawn="1">
          <p15:clr>
            <a:srgbClr val="547EBF"/>
          </p15:clr>
        </p15:guide>
        <p15:guide id="4" orient="horz" pos="3874" userDrawn="1">
          <p15:clr>
            <a:srgbClr val="547EBF"/>
          </p15:clr>
        </p15:guide>
        <p15:guide id="5" orient="horz" pos="3997" userDrawn="1">
          <p15:clr>
            <a:srgbClr val="547EBF"/>
          </p15:clr>
        </p15:guide>
        <p15:guide id="6" orient="horz" pos="4119" userDrawn="1">
          <p15:clr>
            <a:srgbClr val="547EBF"/>
          </p15:clr>
        </p15:guide>
        <p15:guide id="7" orient="horz" pos="874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type="secHead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D8395AC6-F1DD-4B25-8758-808B2687016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98788 w 12192000"/>
              <a:gd name="connsiteY0" fmla="*/ 6533358 h 6857999"/>
              <a:gd name="connsiteX1" fmla="*/ 11298788 w 12192000"/>
              <a:gd name="connsiteY1" fmla="*/ 6577748 h 6857999"/>
              <a:gd name="connsiteX2" fmla="*/ 11277098 w 12192000"/>
              <a:gd name="connsiteY2" fmla="*/ 6580508 h 6857999"/>
              <a:gd name="connsiteX3" fmla="*/ 11251296 w 12192000"/>
              <a:gd name="connsiteY3" fmla="*/ 6559126 h 6857999"/>
              <a:gd name="connsiteX4" fmla="*/ 11271583 w 12192000"/>
              <a:gd name="connsiteY4" fmla="*/ 6537753 h 6857999"/>
              <a:gd name="connsiteX5" fmla="*/ 10560747 w 12192000"/>
              <a:gd name="connsiteY5" fmla="*/ 6479619 h 6857999"/>
              <a:gd name="connsiteX6" fmla="*/ 10586349 w 12192000"/>
              <a:gd name="connsiteY6" fmla="*/ 6528988 h 6857999"/>
              <a:gd name="connsiteX7" fmla="*/ 10560747 w 12192000"/>
              <a:gd name="connsiteY7" fmla="*/ 6577739 h 6857999"/>
              <a:gd name="connsiteX8" fmla="*/ 10535246 w 12192000"/>
              <a:gd name="connsiteY8" fmla="*/ 6528988 h 6857999"/>
              <a:gd name="connsiteX9" fmla="*/ 10560747 w 12192000"/>
              <a:gd name="connsiteY9" fmla="*/ 6479619 h 6857999"/>
              <a:gd name="connsiteX10" fmla="*/ 11568237 w 12192000"/>
              <a:gd name="connsiteY10" fmla="*/ 6479077 h 6857999"/>
              <a:gd name="connsiteX11" fmla="*/ 11592661 w 12192000"/>
              <a:gd name="connsiteY11" fmla="*/ 6494421 h 6857999"/>
              <a:gd name="connsiteX12" fmla="*/ 11594332 w 12192000"/>
              <a:gd name="connsiteY12" fmla="*/ 6515511 h 6857999"/>
              <a:gd name="connsiteX13" fmla="*/ 11594332 w 12192000"/>
              <a:gd name="connsiteY13" fmla="*/ 6519889 h 6857999"/>
              <a:gd name="connsiteX14" fmla="*/ 11542987 w 12192000"/>
              <a:gd name="connsiteY14" fmla="*/ 6519889 h 6857999"/>
              <a:gd name="connsiteX15" fmla="*/ 11542987 w 12192000"/>
              <a:gd name="connsiteY15" fmla="*/ 6517179 h 6857999"/>
              <a:gd name="connsiteX16" fmla="*/ 11544357 w 12192000"/>
              <a:gd name="connsiteY16" fmla="*/ 6496340 h 6857999"/>
              <a:gd name="connsiteX17" fmla="*/ 11568237 w 12192000"/>
              <a:gd name="connsiteY17" fmla="*/ 6479077 h 6857999"/>
              <a:gd name="connsiteX18" fmla="*/ 11720656 w 12192000"/>
              <a:gd name="connsiteY18" fmla="*/ 6460415 h 6857999"/>
              <a:gd name="connsiteX19" fmla="*/ 11725886 w 12192000"/>
              <a:gd name="connsiteY19" fmla="*/ 6460415 h 6857999"/>
              <a:gd name="connsiteX20" fmla="*/ 11733582 w 12192000"/>
              <a:gd name="connsiteY20" fmla="*/ 6487000 h 6857999"/>
              <a:gd name="connsiteX21" fmla="*/ 11712977 w 12192000"/>
              <a:gd name="connsiteY21" fmla="*/ 6487000 h 6857999"/>
              <a:gd name="connsiteX22" fmla="*/ 11710245 w 12192000"/>
              <a:gd name="connsiteY22" fmla="*/ 6450024 h 6857999"/>
              <a:gd name="connsiteX23" fmla="*/ 11709167 w 12192000"/>
              <a:gd name="connsiteY23" fmla="*/ 6450850 h 6857999"/>
              <a:gd name="connsiteX24" fmla="*/ 11687317 w 12192000"/>
              <a:gd name="connsiteY24" fmla="*/ 6515787 h 6857999"/>
              <a:gd name="connsiteX25" fmla="*/ 11687033 w 12192000"/>
              <a:gd name="connsiteY25" fmla="*/ 6516896 h 6857999"/>
              <a:gd name="connsiteX26" fmla="*/ 11687827 w 12192000"/>
              <a:gd name="connsiteY26" fmla="*/ 6517455 h 6857999"/>
              <a:gd name="connsiteX27" fmla="*/ 11703886 w 12192000"/>
              <a:gd name="connsiteY27" fmla="*/ 6517455 h 6857999"/>
              <a:gd name="connsiteX28" fmla="*/ 11705014 w 12192000"/>
              <a:gd name="connsiteY28" fmla="*/ 6516329 h 6857999"/>
              <a:gd name="connsiteX29" fmla="*/ 11709977 w 12192000"/>
              <a:gd name="connsiteY29" fmla="*/ 6497716 h 6857999"/>
              <a:gd name="connsiteX30" fmla="*/ 11736581 w 12192000"/>
              <a:gd name="connsiteY30" fmla="*/ 6497716 h 6857999"/>
              <a:gd name="connsiteX31" fmla="*/ 11741528 w 12192000"/>
              <a:gd name="connsiteY31" fmla="*/ 6516329 h 6857999"/>
              <a:gd name="connsiteX32" fmla="*/ 11742656 w 12192000"/>
              <a:gd name="connsiteY32" fmla="*/ 6517455 h 6857999"/>
              <a:gd name="connsiteX33" fmla="*/ 11757763 w 12192000"/>
              <a:gd name="connsiteY33" fmla="*/ 6517455 h 6857999"/>
              <a:gd name="connsiteX34" fmla="*/ 11758573 w 12192000"/>
              <a:gd name="connsiteY34" fmla="*/ 6516896 h 6857999"/>
              <a:gd name="connsiteX35" fmla="*/ 11758272 w 12192000"/>
              <a:gd name="connsiteY35" fmla="*/ 6515787 h 6857999"/>
              <a:gd name="connsiteX36" fmla="*/ 11737442 w 12192000"/>
              <a:gd name="connsiteY36" fmla="*/ 6450850 h 6857999"/>
              <a:gd name="connsiteX37" fmla="*/ 11736314 w 12192000"/>
              <a:gd name="connsiteY37" fmla="*/ 6450024 h 6857999"/>
              <a:gd name="connsiteX38" fmla="*/ 10188067 w 12192000"/>
              <a:gd name="connsiteY38" fmla="*/ 6449732 h 6857999"/>
              <a:gd name="connsiteX39" fmla="*/ 10188067 w 12192000"/>
              <a:gd name="connsiteY39" fmla="*/ 6496048 h 6857999"/>
              <a:gd name="connsiteX40" fmla="*/ 10143574 w 12192000"/>
              <a:gd name="connsiteY40" fmla="*/ 6547343 h 6857999"/>
              <a:gd name="connsiteX41" fmla="*/ 10120796 w 12192000"/>
              <a:gd name="connsiteY41" fmla="*/ 6547343 h 6857999"/>
              <a:gd name="connsiteX42" fmla="*/ 10114179 w 12192000"/>
              <a:gd name="connsiteY42" fmla="*/ 6609537 h 6857999"/>
              <a:gd name="connsiteX43" fmla="*/ 10146874 w 12192000"/>
              <a:gd name="connsiteY43" fmla="*/ 6609537 h 6857999"/>
              <a:gd name="connsiteX44" fmla="*/ 10250959 w 12192000"/>
              <a:gd name="connsiteY44" fmla="*/ 6500735 h 6857999"/>
              <a:gd name="connsiteX45" fmla="*/ 10250959 w 12192000"/>
              <a:gd name="connsiteY45" fmla="*/ 6449732 h 6857999"/>
              <a:gd name="connsiteX46" fmla="*/ 11804146 w 12192000"/>
              <a:gd name="connsiteY46" fmla="*/ 6448589 h 6857999"/>
              <a:gd name="connsiteX47" fmla="*/ 11769822 w 12192000"/>
              <a:gd name="connsiteY47" fmla="*/ 6483747 h 6857999"/>
              <a:gd name="connsiteX48" fmla="*/ 11805809 w 12192000"/>
              <a:gd name="connsiteY48" fmla="*/ 6518563 h 6857999"/>
              <a:gd name="connsiteX49" fmla="*/ 11825035 w 12192000"/>
              <a:gd name="connsiteY49" fmla="*/ 6516645 h 6857999"/>
              <a:gd name="connsiteX50" fmla="*/ 11824792 w 12192000"/>
              <a:gd name="connsiteY50" fmla="*/ 6516645 h 6857999"/>
              <a:gd name="connsiteX51" fmla="*/ 11830800 w 12192000"/>
              <a:gd name="connsiteY51" fmla="*/ 6508698 h 6857999"/>
              <a:gd name="connsiteX52" fmla="*/ 11830800 w 12192000"/>
              <a:gd name="connsiteY52" fmla="*/ 6480678 h 6857999"/>
              <a:gd name="connsiteX53" fmla="*/ 11829730 w 12192000"/>
              <a:gd name="connsiteY53" fmla="*/ 6479619 h 6857999"/>
              <a:gd name="connsiteX54" fmla="*/ 11804146 w 12192000"/>
              <a:gd name="connsiteY54" fmla="*/ 6479619 h 6857999"/>
              <a:gd name="connsiteX55" fmla="*/ 11803068 w 12192000"/>
              <a:gd name="connsiteY55" fmla="*/ 6480678 h 6857999"/>
              <a:gd name="connsiteX56" fmla="*/ 11803068 w 12192000"/>
              <a:gd name="connsiteY56" fmla="*/ 6488917 h 6857999"/>
              <a:gd name="connsiteX57" fmla="*/ 11804146 w 12192000"/>
              <a:gd name="connsiteY57" fmla="*/ 6490310 h 6857999"/>
              <a:gd name="connsiteX58" fmla="*/ 11815134 w 12192000"/>
              <a:gd name="connsiteY58" fmla="*/ 6491403 h 6857999"/>
              <a:gd name="connsiteX59" fmla="*/ 11815134 w 12192000"/>
              <a:gd name="connsiteY59" fmla="*/ 6507572 h 6857999"/>
              <a:gd name="connsiteX60" fmla="*/ 11806327 w 12192000"/>
              <a:gd name="connsiteY60" fmla="*/ 6507856 h 6857999"/>
              <a:gd name="connsiteX61" fmla="*/ 11786575 w 12192000"/>
              <a:gd name="connsiteY61" fmla="*/ 6484273 h 6857999"/>
              <a:gd name="connsiteX62" fmla="*/ 11808249 w 12192000"/>
              <a:gd name="connsiteY62" fmla="*/ 6460147 h 6857999"/>
              <a:gd name="connsiteX63" fmla="*/ 11824784 w 12192000"/>
              <a:gd name="connsiteY63" fmla="*/ 6462049 h 6857999"/>
              <a:gd name="connsiteX64" fmla="*/ 11826138 w 12192000"/>
              <a:gd name="connsiteY64" fmla="*/ 6462299 h 6857999"/>
              <a:gd name="connsiteX65" fmla="*/ 11828335 w 12192000"/>
              <a:gd name="connsiteY65" fmla="*/ 6462566 h 6857999"/>
              <a:gd name="connsiteX66" fmla="*/ 11829730 w 12192000"/>
              <a:gd name="connsiteY66" fmla="*/ 6460689 h 6857999"/>
              <a:gd name="connsiteX67" fmla="*/ 11830508 w 12192000"/>
              <a:gd name="connsiteY67" fmla="*/ 6456278 h 6857999"/>
              <a:gd name="connsiteX68" fmla="*/ 11830792 w 12192000"/>
              <a:gd name="connsiteY68" fmla="*/ 6454101 h 6857999"/>
              <a:gd name="connsiteX69" fmla="*/ 11829396 w 12192000"/>
              <a:gd name="connsiteY69" fmla="*/ 6452434 h 6857999"/>
              <a:gd name="connsiteX70" fmla="*/ 11804146 w 12192000"/>
              <a:gd name="connsiteY70" fmla="*/ 6448589 h 6857999"/>
              <a:gd name="connsiteX71" fmla="*/ 11468798 w 12192000"/>
              <a:gd name="connsiteY71" fmla="*/ 6446454 h 6857999"/>
              <a:gd name="connsiteX72" fmla="*/ 11414988 w 12192000"/>
              <a:gd name="connsiteY72" fmla="*/ 6451917 h 6857999"/>
              <a:gd name="connsiteX73" fmla="*/ 11388050 w 12192000"/>
              <a:gd name="connsiteY73" fmla="*/ 6469487 h 6857999"/>
              <a:gd name="connsiteX74" fmla="*/ 11388050 w 12192000"/>
              <a:gd name="connsiteY74" fmla="*/ 6603823 h 6857999"/>
              <a:gd name="connsiteX75" fmla="*/ 11391919 w 12192000"/>
              <a:gd name="connsiteY75" fmla="*/ 6607676 h 6857999"/>
              <a:gd name="connsiteX76" fmla="*/ 11436086 w 12192000"/>
              <a:gd name="connsiteY76" fmla="*/ 6607676 h 6857999"/>
              <a:gd name="connsiteX77" fmla="*/ 11439963 w 12192000"/>
              <a:gd name="connsiteY77" fmla="*/ 6603823 h 6857999"/>
              <a:gd name="connsiteX78" fmla="*/ 11439963 w 12192000"/>
              <a:gd name="connsiteY78" fmla="*/ 6485899 h 6857999"/>
              <a:gd name="connsiteX79" fmla="*/ 11474847 w 12192000"/>
              <a:gd name="connsiteY79" fmla="*/ 6483455 h 6857999"/>
              <a:gd name="connsiteX80" fmla="*/ 11480345 w 12192000"/>
              <a:gd name="connsiteY80" fmla="*/ 6477109 h 6857999"/>
              <a:gd name="connsiteX81" fmla="*/ 11480345 w 12192000"/>
              <a:gd name="connsiteY81" fmla="*/ 6452750 h 6857999"/>
              <a:gd name="connsiteX82" fmla="*/ 11474003 w 12192000"/>
              <a:gd name="connsiteY82" fmla="*/ 6446454 h 6857999"/>
              <a:gd name="connsiteX83" fmla="*/ 10401190 w 12192000"/>
              <a:gd name="connsiteY83" fmla="*/ 6445921 h 6857999"/>
              <a:gd name="connsiteX84" fmla="*/ 10335023 w 12192000"/>
              <a:gd name="connsiteY84" fmla="*/ 6496039 h 6857999"/>
              <a:gd name="connsiteX85" fmla="*/ 10382516 w 12192000"/>
              <a:gd name="connsiteY85" fmla="*/ 6545666 h 6857999"/>
              <a:gd name="connsiteX86" fmla="*/ 10385549 w 12192000"/>
              <a:gd name="connsiteY86" fmla="*/ 6546191 h 6857999"/>
              <a:gd name="connsiteX87" fmla="*/ 10406153 w 12192000"/>
              <a:gd name="connsiteY87" fmla="*/ 6563203 h 6857999"/>
              <a:gd name="connsiteX88" fmla="*/ 10384972 w 12192000"/>
              <a:gd name="connsiteY88" fmla="*/ 6578581 h 6857999"/>
              <a:gd name="connsiteX89" fmla="*/ 10343504 w 12192000"/>
              <a:gd name="connsiteY89" fmla="*/ 6572285 h 6857999"/>
              <a:gd name="connsiteX90" fmla="*/ 10343771 w 12192000"/>
              <a:gd name="connsiteY90" fmla="*/ 6572285 h 6857999"/>
              <a:gd name="connsiteX91" fmla="*/ 10342961 w 12192000"/>
              <a:gd name="connsiteY91" fmla="*/ 6572034 h 6857999"/>
              <a:gd name="connsiteX92" fmla="*/ 10339936 w 12192000"/>
              <a:gd name="connsiteY92" fmla="*/ 6571459 h 6857999"/>
              <a:gd name="connsiteX93" fmla="*/ 10336886 w 12192000"/>
              <a:gd name="connsiteY93" fmla="*/ 6575304 h 6857999"/>
              <a:gd name="connsiteX94" fmla="*/ 10333628 w 12192000"/>
              <a:gd name="connsiteY94" fmla="*/ 6594759 h 6857999"/>
              <a:gd name="connsiteX95" fmla="*/ 10333068 w 12192000"/>
              <a:gd name="connsiteY95" fmla="*/ 6598854 h 6857999"/>
              <a:gd name="connsiteX96" fmla="*/ 10336076 w 12192000"/>
              <a:gd name="connsiteY96" fmla="*/ 6602698 h 6857999"/>
              <a:gd name="connsiteX97" fmla="*/ 10392408 w 12192000"/>
              <a:gd name="connsiteY97" fmla="*/ 6611237 h 6857999"/>
              <a:gd name="connsiteX98" fmla="*/ 10458567 w 12192000"/>
              <a:gd name="connsiteY98" fmla="*/ 6558867 h 6857999"/>
              <a:gd name="connsiteX99" fmla="*/ 10414935 w 12192000"/>
              <a:gd name="connsiteY99" fmla="*/ 6510324 h 6857999"/>
              <a:gd name="connsiteX100" fmla="*/ 10410481 w 12192000"/>
              <a:gd name="connsiteY100" fmla="*/ 6509516 h 6857999"/>
              <a:gd name="connsiteX101" fmla="*/ 10387429 w 12192000"/>
              <a:gd name="connsiteY101" fmla="*/ 6492487 h 6857999"/>
              <a:gd name="connsiteX102" fmla="*/ 10409437 w 12192000"/>
              <a:gd name="connsiteY102" fmla="*/ 6478285 h 6857999"/>
              <a:gd name="connsiteX103" fmla="*/ 10440202 w 12192000"/>
              <a:gd name="connsiteY103" fmla="*/ 6481821 h 6857999"/>
              <a:gd name="connsiteX104" fmla="*/ 10445674 w 12192000"/>
              <a:gd name="connsiteY104" fmla="*/ 6482663 h 6857999"/>
              <a:gd name="connsiteX105" fmla="*/ 10449526 w 12192000"/>
              <a:gd name="connsiteY105" fmla="*/ 6479903 h 6857999"/>
              <a:gd name="connsiteX106" fmla="*/ 10453378 w 12192000"/>
              <a:gd name="connsiteY106" fmla="*/ 6459872 h 6857999"/>
              <a:gd name="connsiteX107" fmla="*/ 10453646 w 12192000"/>
              <a:gd name="connsiteY107" fmla="*/ 6457696 h 6857999"/>
              <a:gd name="connsiteX108" fmla="*/ 10447889 w 12192000"/>
              <a:gd name="connsiteY108" fmla="*/ 6451916 h 6857999"/>
              <a:gd name="connsiteX109" fmla="*/ 10401190 w 12192000"/>
              <a:gd name="connsiteY109" fmla="*/ 6445921 h 6857999"/>
              <a:gd name="connsiteX110" fmla="*/ 11568246 w 12192000"/>
              <a:gd name="connsiteY110" fmla="*/ 6445912 h 6857999"/>
              <a:gd name="connsiteX111" fmla="*/ 11489963 w 12192000"/>
              <a:gd name="connsiteY111" fmla="*/ 6529780 h 6857999"/>
              <a:gd name="connsiteX112" fmla="*/ 11576752 w 12192000"/>
              <a:gd name="connsiteY112" fmla="*/ 6611495 h 6857999"/>
              <a:gd name="connsiteX113" fmla="*/ 11633068 w 12192000"/>
              <a:gd name="connsiteY113" fmla="*/ 6601597 h 6857999"/>
              <a:gd name="connsiteX114" fmla="*/ 11637187 w 12192000"/>
              <a:gd name="connsiteY114" fmla="*/ 6596410 h 6857999"/>
              <a:gd name="connsiteX115" fmla="*/ 11636936 w 12192000"/>
              <a:gd name="connsiteY115" fmla="*/ 6594200 h 6857999"/>
              <a:gd name="connsiteX116" fmla="*/ 11632533 w 12192000"/>
              <a:gd name="connsiteY116" fmla="*/ 6576112 h 6857999"/>
              <a:gd name="connsiteX117" fmla="*/ 11632533 w 12192000"/>
              <a:gd name="connsiteY117" fmla="*/ 6576379 h 6857999"/>
              <a:gd name="connsiteX118" fmla="*/ 11627570 w 12192000"/>
              <a:gd name="connsiteY118" fmla="*/ 6571726 h 6857999"/>
              <a:gd name="connsiteX119" fmla="*/ 11623994 w 12192000"/>
              <a:gd name="connsiteY119" fmla="*/ 6572284 h 6857999"/>
              <a:gd name="connsiteX120" fmla="*/ 11624278 w 12192000"/>
              <a:gd name="connsiteY120" fmla="*/ 6572284 h 6857999"/>
              <a:gd name="connsiteX121" fmla="*/ 11586085 w 12192000"/>
              <a:gd name="connsiteY121" fmla="*/ 6578580 h 6857999"/>
              <a:gd name="connsiteX122" fmla="*/ 11556398 w 12192000"/>
              <a:gd name="connsiteY122" fmla="*/ 6573886 h 6857999"/>
              <a:gd name="connsiteX123" fmla="*/ 11543505 w 12192000"/>
              <a:gd name="connsiteY123" fmla="*/ 6549260 h 6857999"/>
              <a:gd name="connsiteX124" fmla="*/ 11636936 w 12192000"/>
              <a:gd name="connsiteY124" fmla="*/ 6549260 h 6857999"/>
              <a:gd name="connsiteX125" fmla="*/ 11644331 w 12192000"/>
              <a:gd name="connsiteY125" fmla="*/ 6540754 h 6857999"/>
              <a:gd name="connsiteX126" fmla="*/ 11644331 w 12192000"/>
              <a:gd name="connsiteY126" fmla="*/ 6526210 h 6857999"/>
              <a:gd name="connsiteX127" fmla="*/ 11628397 w 12192000"/>
              <a:gd name="connsiteY127" fmla="*/ 6464525 h 6857999"/>
              <a:gd name="connsiteX128" fmla="*/ 11568246 w 12192000"/>
              <a:gd name="connsiteY128" fmla="*/ 6445912 h 6857999"/>
              <a:gd name="connsiteX129" fmla="*/ 10560747 w 12192000"/>
              <a:gd name="connsiteY129" fmla="*/ 6445912 h 6857999"/>
              <a:gd name="connsiteX130" fmla="*/ 10482214 w 12192000"/>
              <a:gd name="connsiteY130" fmla="*/ 6528988 h 6857999"/>
              <a:gd name="connsiteX131" fmla="*/ 10560747 w 12192000"/>
              <a:gd name="connsiteY131" fmla="*/ 6611496 h 6857999"/>
              <a:gd name="connsiteX132" fmla="*/ 10639314 w 12192000"/>
              <a:gd name="connsiteY132" fmla="*/ 6528988 h 6857999"/>
              <a:gd name="connsiteX133" fmla="*/ 10560747 w 12192000"/>
              <a:gd name="connsiteY133" fmla="*/ 6445912 h 6857999"/>
              <a:gd name="connsiteX134" fmla="*/ 11283665 w 12192000"/>
              <a:gd name="connsiteY134" fmla="*/ 6445904 h 6857999"/>
              <a:gd name="connsiteX135" fmla="*/ 11215576 w 12192000"/>
              <a:gd name="connsiteY135" fmla="*/ 6457112 h 6857999"/>
              <a:gd name="connsiteX136" fmla="*/ 11211716 w 12192000"/>
              <a:gd name="connsiteY136" fmla="*/ 6461240 h 6857999"/>
              <a:gd name="connsiteX137" fmla="*/ 11211716 w 12192000"/>
              <a:gd name="connsiteY137" fmla="*/ 6462316 h 6857999"/>
              <a:gd name="connsiteX138" fmla="*/ 11212000 w 12192000"/>
              <a:gd name="connsiteY138" fmla="*/ 6463158 h 6857999"/>
              <a:gd name="connsiteX139" fmla="*/ 11217197 w 12192000"/>
              <a:gd name="connsiteY139" fmla="*/ 6485899 h 6857999"/>
              <a:gd name="connsiteX140" fmla="*/ 11219979 w 12192000"/>
              <a:gd name="connsiteY140" fmla="*/ 6488109 h 6857999"/>
              <a:gd name="connsiteX141" fmla="*/ 11222177 w 12192000"/>
              <a:gd name="connsiteY141" fmla="*/ 6487826 h 6857999"/>
              <a:gd name="connsiteX142" fmla="*/ 11271884 w 12192000"/>
              <a:gd name="connsiteY142" fmla="*/ 6479620 h 6857999"/>
              <a:gd name="connsiteX143" fmla="*/ 11292171 w 12192000"/>
              <a:gd name="connsiteY143" fmla="*/ 6482330 h 6857999"/>
              <a:gd name="connsiteX144" fmla="*/ 11298788 w 12192000"/>
              <a:gd name="connsiteY144" fmla="*/ 6497974 h 6857999"/>
              <a:gd name="connsiteX145" fmla="*/ 11298788 w 12192000"/>
              <a:gd name="connsiteY145" fmla="*/ 6504829 h 6857999"/>
              <a:gd name="connsiteX146" fmla="*/ 11246893 w 12192000"/>
              <a:gd name="connsiteY146" fmla="*/ 6513068 h 6857999"/>
              <a:gd name="connsiteX147" fmla="*/ 11201564 w 12192000"/>
              <a:gd name="connsiteY147" fmla="*/ 6559626 h 6857999"/>
              <a:gd name="connsiteX148" fmla="*/ 11276245 w 12192000"/>
              <a:gd name="connsiteY148" fmla="*/ 6611488 h 6857999"/>
              <a:gd name="connsiteX149" fmla="*/ 11320462 w 12192000"/>
              <a:gd name="connsiteY149" fmla="*/ 6607661 h 6857999"/>
              <a:gd name="connsiteX150" fmla="*/ 11350467 w 12192000"/>
              <a:gd name="connsiteY150" fmla="*/ 6576096 h 6857999"/>
              <a:gd name="connsiteX151" fmla="*/ 11350467 w 12192000"/>
              <a:gd name="connsiteY151" fmla="*/ 6493304 h 6857999"/>
              <a:gd name="connsiteX152" fmla="*/ 11330639 w 12192000"/>
              <a:gd name="connsiteY152" fmla="*/ 6454936 h 6857999"/>
              <a:gd name="connsiteX153" fmla="*/ 11283665 w 12192000"/>
              <a:gd name="connsiteY153" fmla="*/ 6445904 h 6857999"/>
              <a:gd name="connsiteX154" fmla="*/ 10734048 w 12192000"/>
              <a:gd name="connsiteY154" fmla="*/ 6380908 h 6857999"/>
              <a:gd name="connsiteX155" fmla="*/ 10680815 w 12192000"/>
              <a:gd name="connsiteY155" fmla="*/ 6429993 h 6857999"/>
              <a:gd name="connsiteX156" fmla="*/ 10680815 w 12192000"/>
              <a:gd name="connsiteY156" fmla="*/ 6449715 h 6857999"/>
              <a:gd name="connsiteX157" fmla="*/ 10657453 w 12192000"/>
              <a:gd name="connsiteY157" fmla="*/ 6449715 h 6857999"/>
              <a:gd name="connsiteX158" fmla="*/ 10653593 w 12192000"/>
              <a:gd name="connsiteY158" fmla="*/ 6453560 h 6857999"/>
              <a:gd name="connsiteX159" fmla="*/ 10653593 w 12192000"/>
              <a:gd name="connsiteY159" fmla="*/ 6481805 h 6857999"/>
              <a:gd name="connsiteX160" fmla="*/ 10657453 w 12192000"/>
              <a:gd name="connsiteY160" fmla="*/ 6485658 h 6857999"/>
              <a:gd name="connsiteX161" fmla="*/ 10680815 w 12192000"/>
              <a:gd name="connsiteY161" fmla="*/ 6485658 h 6857999"/>
              <a:gd name="connsiteX162" fmla="*/ 10680815 w 12192000"/>
              <a:gd name="connsiteY162" fmla="*/ 6603808 h 6857999"/>
              <a:gd name="connsiteX163" fmla="*/ 10684650 w 12192000"/>
              <a:gd name="connsiteY163" fmla="*/ 6607661 h 6857999"/>
              <a:gd name="connsiteX164" fmla="*/ 10729152 w 12192000"/>
              <a:gd name="connsiteY164" fmla="*/ 6607661 h 6857999"/>
              <a:gd name="connsiteX165" fmla="*/ 10732987 w 12192000"/>
              <a:gd name="connsiteY165" fmla="*/ 6603808 h 6857999"/>
              <a:gd name="connsiteX166" fmla="*/ 10732987 w 12192000"/>
              <a:gd name="connsiteY166" fmla="*/ 6485666 h 6857999"/>
              <a:gd name="connsiteX167" fmla="*/ 10803875 w 12192000"/>
              <a:gd name="connsiteY167" fmla="*/ 6485666 h 6857999"/>
              <a:gd name="connsiteX168" fmla="*/ 10803875 w 12192000"/>
              <a:gd name="connsiteY168" fmla="*/ 6559126 h 6857999"/>
              <a:gd name="connsiteX169" fmla="*/ 10860191 w 12192000"/>
              <a:gd name="connsiteY169" fmla="*/ 6610112 h 6857999"/>
              <a:gd name="connsiteX170" fmla="*/ 10898610 w 12192000"/>
              <a:gd name="connsiteY170" fmla="*/ 6604608 h 6857999"/>
              <a:gd name="connsiteX171" fmla="*/ 10902746 w 12192000"/>
              <a:gd name="connsiteY171" fmla="*/ 6599688 h 6857999"/>
              <a:gd name="connsiteX172" fmla="*/ 10902495 w 12192000"/>
              <a:gd name="connsiteY172" fmla="*/ 6597228 h 6857999"/>
              <a:gd name="connsiteX173" fmla="*/ 10898342 w 12192000"/>
              <a:gd name="connsiteY173" fmla="*/ 6575563 h 6857999"/>
              <a:gd name="connsiteX174" fmla="*/ 10895050 w 12192000"/>
              <a:gd name="connsiteY174" fmla="*/ 6572277 h 6857999"/>
              <a:gd name="connsiteX175" fmla="*/ 10892869 w 12192000"/>
              <a:gd name="connsiteY175" fmla="*/ 6572527 h 6857999"/>
              <a:gd name="connsiteX176" fmla="*/ 10891482 w 12192000"/>
              <a:gd name="connsiteY176" fmla="*/ 6572811 h 6857999"/>
              <a:gd name="connsiteX177" fmla="*/ 10874170 w 12192000"/>
              <a:gd name="connsiteY177" fmla="*/ 6574162 h 6857999"/>
              <a:gd name="connsiteX178" fmla="*/ 10855487 w 12192000"/>
              <a:gd name="connsiteY178" fmla="*/ 6555799 h 6857999"/>
              <a:gd name="connsiteX179" fmla="*/ 10855487 w 12192000"/>
              <a:gd name="connsiteY179" fmla="*/ 6485891 h 6857999"/>
              <a:gd name="connsiteX180" fmla="*/ 10933761 w 12192000"/>
              <a:gd name="connsiteY180" fmla="*/ 6485891 h 6857999"/>
              <a:gd name="connsiteX181" fmla="*/ 10933761 w 12192000"/>
              <a:gd name="connsiteY181" fmla="*/ 6588722 h 6857999"/>
              <a:gd name="connsiteX182" fmla="*/ 10960139 w 12192000"/>
              <a:gd name="connsiteY182" fmla="*/ 6605985 h 6857999"/>
              <a:gd name="connsiteX183" fmla="*/ 11007123 w 12192000"/>
              <a:gd name="connsiteY183" fmla="*/ 6611730 h 6857999"/>
              <a:gd name="connsiteX184" fmla="*/ 11057673 w 12192000"/>
              <a:gd name="connsiteY184" fmla="*/ 6598004 h 6857999"/>
              <a:gd name="connsiteX185" fmla="*/ 11116396 w 12192000"/>
              <a:gd name="connsiteY185" fmla="*/ 6611730 h 6857999"/>
              <a:gd name="connsiteX186" fmla="*/ 11178218 w 12192000"/>
              <a:gd name="connsiteY186" fmla="*/ 6566215 h 6857999"/>
              <a:gd name="connsiteX187" fmla="*/ 11178218 w 12192000"/>
              <a:gd name="connsiteY187" fmla="*/ 6453560 h 6857999"/>
              <a:gd name="connsiteX188" fmla="*/ 11174400 w 12192000"/>
              <a:gd name="connsiteY188" fmla="*/ 6449715 h 6857999"/>
              <a:gd name="connsiteX189" fmla="*/ 11130149 w 12192000"/>
              <a:gd name="connsiteY189" fmla="*/ 6449715 h 6857999"/>
              <a:gd name="connsiteX190" fmla="*/ 11126297 w 12192000"/>
              <a:gd name="connsiteY190" fmla="*/ 6453560 h 6857999"/>
              <a:gd name="connsiteX191" fmla="*/ 11126297 w 12192000"/>
              <a:gd name="connsiteY191" fmla="*/ 6558851 h 6857999"/>
              <a:gd name="connsiteX192" fmla="*/ 11103796 w 12192000"/>
              <a:gd name="connsiteY192" fmla="*/ 6579941 h 6857999"/>
              <a:gd name="connsiteX193" fmla="*/ 11082063 w 12192000"/>
              <a:gd name="connsiteY193" fmla="*/ 6576897 h 6857999"/>
              <a:gd name="connsiteX194" fmla="*/ 11082063 w 12192000"/>
              <a:gd name="connsiteY194" fmla="*/ 6453560 h 6857999"/>
              <a:gd name="connsiteX195" fmla="*/ 11078228 w 12192000"/>
              <a:gd name="connsiteY195" fmla="*/ 6449715 h 6857999"/>
              <a:gd name="connsiteX196" fmla="*/ 11034027 w 12192000"/>
              <a:gd name="connsiteY196" fmla="*/ 6449715 h 6857999"/>
              <a:gd name="connsiteX197" fmla="*/ 11030175 w 12192000"/>
              <a:gd name="connsiteY197" fmla="*/ 6453560 h 6857999"/>
              <a:gd name="connsiteX198" fmla="*/ 11030175 w 12192000"/>
              <a:gd name="connsiteY198" fmla="*/ 6558851 h 6857999"/>
              <a:gd name="connsiteX199" fmla="*/ 11011492 w 12192000"/>
              <a:gd name="connsiteY199" fmla="*/ 6579941 h 6857999"/>
              <a:gd name="connsiteX200" fmla="*/ 10985674 w 12192000"/>
              <a:gd name="connsiteY200" fmla="*/ 6577197 h 6857999"/>
              <a:gd name="connsiteX201" fmla="*/ 10985674 w 12192000"/>
              <a:gd name="connsiteY201" fmla="*/ 6453560 h 6857999"/>
              <a:gd name="connsiteX202" fmla="*/ 10981855 w 12192000"/>
              <a:gd name="connsiteY202" fmla="*/ 6449715 h 6857999"/>
              <a:gd name="connsiteX203" fmla="*/ 10855478 w 12192000"/>
              <a:gd name="connsiteY203" fmla="*/ 6449715 h 6857999"/>
              <a:gd name="connsiteX204" fmla="*/ 10855478 w 12192000"/>
              <a:gd name="connsiteY204" fmla="*/ 6400922 h 6857999"/>
              <a:gd name="connsiteX205" fmla="*/ 10850532 w 12192000"/>
              <a:gd name="connsiteY205" fmla="*/ 6395735 h 6857999"/>
              <a:gd name="connsiteX206" fmla="*/ 10847257 w 12192000"/>
              <a:gd name="connsiteY206" fmla="*/ 6396277 h 6857999"/>
              <a:gd name="connsiteX207" fmla="*/ 10809315 w 12192000"/>
              <a:gd name="connsiteY207" fmla="*/ 6402866 h 6857999"/>
              <a:gd name="connsiteX208" fmla="*/ 10803858 w 12192000"/>
              <a:gd name="connsiteY208" fmla="*/ 6410529 h 6857999"/>
              <a:gd name="connsiteX209" fmla="*/ 10803858 w 12192000"/>
              <a:gd name="connsiteY209" fmla="*/ 6449724 h 6857999"/>
              <a:gd name="connsiteX210" fmla="*/ 10732979 w 12192000"/>
              <a:gd name="connsiteY210" fmla="*/ 6449724 h 6857999"/>
              <a:gd name="connsiteX211" fmla="*/ 10732979 w 12192000"/>
              <a:gd name="connsiteY211" fmla="*/ 6432470 h 6857999"/>
              <a:gd name="connsiteX212" fmla="*/ 10736822 w 12192000"/>
              <a:gd name="connsiteY212" fmla="*/ 6420119 h 6857999"/>
              <a:gd name="connsiteX213" fmla="*/ 10751403 w 12192000"/>
              <a:gd name="connsiteY213" fmla="*/ 6416583 h 6857999"/>
              <a:gd name="connsiteX214" fmla="*/ 10766493 w 12192000"/>
              <a:gd name="connsiteY214" fmla="*/ 6417934 h 6857999"/>
              <a:gd name="connsiteX215" fmla="*/ 10768415 w 12192000"/>
              <a:gd name="connsiteY215" fmla="*/ 6418201 h 6857999"/>
              <a:gd name="connsiteX216" fmla="*/ 10772233 w 12192000"/>
              <a:gd name="connsiteY216" fmla="*/ 6418760 h 6857999"/>
              <a:gd name="connsiteX217" fmla="*/ 10774982 w 12192000"/>
              <a:gd name="connsiteY217" fmla="*/ 6414916 h 6857999"/>
              <a:gd name="connsiteX218" fmla="*/ 10778324 w 12192000"/>
              <a:gd name="connsiteY218" fmla="*/ 6392983 h 6857999"/>
              <a:gd name="connsiteX219" fmla="*/ 10778575 w 12192000"/>
              <a:gd name="connsiteY219" fmla="*/ 6390524 h 6857999"/>
              <a:gd name="connsiteX220" fmla="*/ 10775550 w 12192000"/>
              <a:gd name="connsiteY220" fmla="*/ 6386128 h 6857999"/>
              <a:gd name="connsiteX221" fmla="*/ 10734048 w 12192000"/>
              <a:gd name="connsiteY221" fmla="*/ 6380908 h 6857999"/>
              <a:gd name="connsiteX222" fmla="*/ 10182569 w 12192000"/>
              <a:gd name="connsiteY222" fmla="*/ 6345000 h 6857999"/>
              <a:gd name="connsiteX223" fmla="*/ 10081200 w 12192000"/>
              <a:gd name="connsiteY223" fmla="*/ 6451084 h 6857999"/>
              <a:gd name="connsiteX224" fmla="*/ 10081200 w 12192000"/>
              <a:gd name="connsiteY224" fmla="*/ 6508391 h 6857999"/>
              <a:gd name="connsiteX225" fmla="*/ 10144117 w 12192000"/>
              <a:gd name="connsiteY225" fmla="*/ 6508391 h 6857999"/>
              <a:gd name="connsiteX226" fmla="*/ 10144117 w 12192000"/>
              <a:gd name="connsiteY226" fmla="*/ 6455771 h 6857999"/>
              <a:gd name="connsiteX227" fmla="*/ 10188627 w 12192000"/>
              <a:gd name="connsiteY227" fmla="*/ 6407244 h 6857999"/>
              <a:gd name="connsiteX228" fmla="*/ 10210853 w 12192000"/>
              <a:gd name="connsiteY228" fmla="*/ 6407244 h 6857999"/>
              <a:gd name="connsiteX229" fmla="*/ 10217470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</p:spTree>
    <p:extLst>
      <p:ext uri="{BB962C8B-B14F-4D97-AF65-F5344CB8AC3E}">
        <p14:creationId xmlns:p14="http://schemas.microsoft.com/office/powerpoint/2010/main" val="286622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 userDrawn="1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6" name="Picture Placeholder 31">
            <a:extLst>
              <a:ext uri="{FF2B5EF4-FFF2-40B4-BE49-F238E27FC236}">
                <a16:creationId xmlns:a16="http://schemas.microsoft.com/office/drawing/2014/main" id="{6FFE8322-D5E6-4B73-B5F3-E7AA4B608A1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88053 w 12192000"/>
              <a:gd name="connsiteY0" fmla="*/ 6533358 h 6857999"/>
              <a:gd name="connsiteX1" fmla="*/ 11288053 w 12192000"/>
              <a:gd name="connsiteY1" fmla="*/ 6577748 h 6857999"/>
              <a:gd name="connsiteX2" fmla="*/ 11266363 w 12192000"/>
              <a:gd name="connsiteY2" fmla="*/ 6580508 h 6857999"/>
              <a:gd name="connsiteX3" fmla="*/ 11240561 w 12192000"/>
              <a:gd name="connsiteY3" fmla="*/ 6559126 h 6857999"/>
              <a:gd name="connsiteX4" fmla="*/ 11260848 w 12192000"/>
              <a:gd name="connsiteY4" fmla="*/ 6537753 h 6857999"/>
              <a:gd name="connsiteX5" fmla="*/ 10550012 w 12192000"/>
              <a:gd name="connsiteY5" fmla="*/ 6479619 h 6857999"/>
              <a:gd name="connsiteX6" fmla="*/ 10575614 w 12192000"/>
              <a:gd name="connsiteY6" fmla="*/ 6528988 h 6857999"/>
              <a:gd name="connsiteX7" fmla="*/ 10550012 w 12192000"/>
              <a:gd name="connsiteY7" fmla="*/ 6577739 h 6857999"/>
              <a:gd name="connsiteX8" fmla="*/ 10524511 w 12192000"/>
              <a:gd name="connsiteY8" fmla="*/ 6528988 h 6857999"/>
              <a:gd name="connsiteX9" fmla="*/ 10550012 w 12192000"/>
              <a:gd name="connsiteY9" fmla="*/ 6479619 h 6857999"/>
              <a:gd name="connsiteX10" fmla="*/ 11557502 w 12192000"/>
              <a:gd name="connsiteY10" fmla="*/ 6479077 h 6857999"/>
              <a:gd name="connsiteX11" fmla="*/ 11581926 w 12192000"/>
              <a:gd name="connsiteY11" fmla="*/ 6494421 h 6857999"/>
              <a:gd name="connsiteX12" fmla="*/ 11583597 w 12192000"/>
              <a:gd name="connsiteY12" fmla="*/ 6515511 h 6857999"/>
              <a:gd name="connsiteX13" fmla="*/ 11583597 w 12192000"/>
              <a:gd name="connsiteY13" fmla="*/ 6519889 h 6857999"/>
              <a:gd name="connsiteX14" fmla="*/ 11532252 w 12192000"/>
              <a:gd name="connsiteY14" fmla="*/ 6519889 h 6857999"/>
              <a:gd name="connsiteX15" fmla="*/ 11532252 w 12192000"/>
              <a:gd name="connsiteY15" fmla="*/ 6517179 h 6857999"/>
              <a:gd name="connsiteX16" fmla="*/ 11533622 w 12192000"/>
              <a:gd name="connsiteY16" fmla="*/ 6496340 h 6857999"/>
              <a:gd name="connsiteX17" fmla="*/ 11557502 w 12192000"/>
              <a:gd name="connsiteY17" fmla="*/ 6479077 h 6857999"/>
              <a:gd name="connsiteX18" fmla="*/ 11709921 w 12192000"/>
              <a:gd name="connsiteY18" fmla="*/ 6460415 h 6857999"/>
              <a:gd name="connsiteX19" fmla="*/ 11715151 w 12192000"/>
              <a:gd name="connsiteY19" fmla="*/ 6460415 h 6857999"/>
              <a:gd name="connsiteX20" fmla="*/ 11722847 w 12192000"/>
              <a:gd name="connsiteY20" fmla="*/ 6487000 h 6857999"/>
              <a:gd name="connsiteX21" fmla="*/ 11702242 w 12192000"/>
              <a:gd name="connsiteY21" fmla="*/ 6487000 h 6857999"/>
              <a:gd name="connsiteX22" fmla="*/ 11699510 w 12192000"/>
              <a:gd name="connsiteY22" fmla="*/ 6450024 h 6857999"/>
              <a:gd name="connsiteX23" fmla="*/ 11698432 w 12192000"/>
              <a:gd name="connsiteY23" fmla="*/ 6450850 h 6857999"/>
              <a:gd name="connsiteX24" fmla="*/ 11676582 w 12192000"/>
              <a:gd name="connsiteY24" fmla="*/ 6515787 h 6857999"/>
              <a:gd name="connsiteX25" fmla="*/ 11676298 w 12192000"/>
              <a:gd name="connsiteY25" fmla="*/ 6516896 h 6857999"/>
              <a:gd name="connsiteX26" fmla="*/ 11677092 w 12192000"/>
              <a:gd name="connsiteY26" fmla="*/ 6517455 h 6857999"/>
              <a:gd name="connsiteX27" fmla="*/ 11693151 w 12192000"/>
              <a:gd name="connsiteY27" fmla="*/ 6517455 h 6857999"/>
              <a:gd name="connsiteX28" fmla="*/ 11694279 w 12192000"/>
              <a:gd name="connsiteY28" fmla="*/ 6516329 h 6857999"/>
              <a:gd name="connsiteX29" fmla="*/ 11699242 w 12192000"/>
              <a:gd name="connsiteY29" fmla="*/ 6497716 h 6857999"/>
              <a:gd name="connsiteX30" fmla="*/ 11725846 w 12192000"/>
              <a:gd name="connsiteY30" fmla="*/ 6497716 h 6857999"/>
              <a:gd name="connsiteX31" fmla="*/ 11730793 w 12192000"/>
              <a:gd name="connsiteY31" fmla="*/ 6516329 h 6857999"/>
              <a:gd name="connsiteX32" fmla="*/ 11731921 w 12192000"/>
              <a:gd name="connsiteY32" fmla="*/ 6517455 h 6857999"/>
              <a:gd name="connsiteX33" fmla="*/ 11747028 w 12192000"/>
              <a:gd name="connsiteY33" fmla="*/ 6517455 h 6857999"/>
              <a:gd name="connsiteX34" fmla="*/ 11747838 w 12192000"/>
              <a:gd name="connsiteY34" fmla="*/ 6516896 h 6857999"/>
              <a:gd name="connsiteX35" fmla="*/ 11747537 w 12192000"/>
              <a:gd name="connsiteY35" fmla="*/ 6515787 h 6857999"/>
              <a:gd name="connsiteX36" fmla="*/ 11726707 w 12192000"/>
              <a:gd name="connsiteY36" fmla="*/ 6450850 h 6857999"/>
              <a:gd name="connsiteX37" fmla="*/ 11725579 w 12192000"/>
              <a:gd name="connsiteY37" fmla="*/ 6450024 h 6857999"/>
              <a:gd name="connsiteX38" fmla="*/ 10177332 w 12192000"/>
              <a:gd name="connsiteY38" fmla="*/ 6449732 h 6857999"/>
              <a:gd name="connsiteX39" fmla="*/ 10177332 w 12192000"/>
              <a:gd name="connsiteY39" fmla="*/ 6496048 h 6857999"/>
              <a:gd name="connsiteX40" fmla="*/ 10132839 w 12192000"/>
              <a:gd name="connsiteY40" fmla="*/ 6547343 h 6857999"/>
              <a:gd name="connsiteX41" fmla="*/ 10110061 w 12192000"/>
              <a:gd name="connsiteY41" fmla="*/ 6547343 h 6857999"/>
              <a:gd name="connsiteX42" fmla="*/ 10103444 w 12192000"/>
              <a:gd name="connsiteY42" fmla="*/ 6609537 h 6857999"/>
              <a:gd name="connsiteX43" fmla="*/ 10136139 w 12192000"/>
              <a:gd name="connsiteY43" fmla="*/ 6609537 h 6857999"/>
              <a:gd name="connsiteX44" fmla="*/ 10240224 w 12192000"/>
              <a:gd name="connsiteY44" fmla="*/ 6500735 h 6857999"/>
              <a:gd name="connsiteX45" fmla="*/ 10240224 w 12192000"/>
              <a:gd name="connsiteY45" fmla="*/ 6449732 h 6857999"/>
              <a:gd name="connsiteX46" fmla="*/ 11793411 w 12192000"/>
              <a:gd name="connsiteY46" fmla="*/ 6448589 h 6857999"/>
              <a:gd name="connsiteX47" fmla="*/ 11759087 w 12192000"/>
              <a:gd name="connsiteY47" fmla="*/ 6483747 h 6857999"/>
              <a:gd name="connsiteX48" fmla="*/ 11795074 w 12192000"/>
              <a:gd name="connsiteY48" fmla="*/ 6518563 h 6857999"/>
              <a:gd name="connsiteX49" fmla="*/ 11814300 w 12192000"/>
              <a:gd name="connsiteY49" fmla="*/ 6516645 h 6857999"/>
              <a:gd name="connsiteX50" fmla="*/ 11814057 w 12192000"/>
              <a:gd name="connsiteY50" fmla="*/ 6516645 h 6857999"/>
              <a:gd name="connsiteX51" fmla="*/ 11820065 w 12192000"/>
              <a:gd name="connsiteY51" fmla="*/ 6508698 h 6857999"/>
              <a:gd name="connsiteX52" fmla="*/ 11820065 w 12192000"/>
              <a:gd name="connsiteY52" fmla="*/ 6480678 h 6857999"/>
              <a:gd name="connsiteX53" fmla="*/ 11818995 w 12192000"/>
              <a:gd name="connsiteY53" fmla="*/ 6479619 h 6857999"/>
              <a:gd name="connsiteX54" fmla="*/ 11793411 w 12192000"/>
              <a:gd name="connsiteY54" fmla="*/ 6479619 h 6857999"/>
              <a:gd name="connsiteX55" fmla="*/ 11792333 w 12192000"/>
              <a:gd name="connsiteY55" fmla="*/ 6480678 h 6857999"/>
              <a:gd name="connsiteX56" fmla="*/ 11792333 w 12192000"/>
              <a:gd name="connsiteY56" fmla="*/ 6488917 h 6857999"/>
              <a:gd name="connsiteX57" fmla="*/ 11793411 w 12192000"/>
              <a:gd name="connsiteY57" fmla="*/ 6490310 h 6857999"/>
              <a:gd name="connsiteX58" fmla="*/ 11804399 w 12192000"/>
              <a:gd name="connsiteY58" fmla="*/ 6491403 h 6857999"/>
              <a:gd name="connsiteX59" fmla="*/ 11804399 w 12192000"/>
              <a:gd name="connsiteY59" fmla="*/ 6507572 h 6857999"/>
              <a:gd name="connsiteX60" fmla="*/ 11795592 w 12192000"/>
              <a:gd name="connsiteY60" fmla="*/ 6507856 h 6857999"/>
              <a:gd name="connsiteX61" fmla="*/ 11775840 w 12192000"/>
              <a:gd name="connsiteY61" fmla="*/ 6484273 h 6857999"/>
              <a:gd name="connsiteX62" fmla="*/ 11797514 w 12192000"/>
              <a:gd name="connsiteY62" fmla="*/ 6460147 h 6857999"/>
              <a:gd name="connsiteX63" fmla="*/ 11814049 w 12192000"/>
              <a:gd name="connsiteY63" fmla="*/ 6462049 h 6857999"/>
              <a:gd name="connsiteX64" fmla="*/ 11815403 w 12192000"/>
              <a:gd name="connsiteY64" fmla="*/ 6462299 h 6857999"/>
              <a:gd name="connsiteX65" fmla="*/ 11817600 w 12192000"/>
              <a:gd name="connsiteY65" fmla="*/ 6462566 h 6857999"/>
              <a:gd name="connsiteX66" fmla="*/ 11818995 w 12192000"/>
              <a:gd name="connsiteY66" fmla="*/ 6460689 h 6857999"/>
              <a:gd name="connsiteX67" fmla="*/ 11819773 w 12192000"/>
              <a:gd name="connsiteY67" fmla="*/ 6456278 h 6857999"/>
              <a:gd name="connsiteX68" fmla="*/ 11820057 w 12192000"/>
              <a:gd name="connsiteY68" fmla="*/ 6454101 h 6857999"/>
              <a:gd name="connsiteX69" fmla="*/ 11818661 w 12192000"/>
              <a:gd name="connsiteY69" fmla="*/ 6452434 h 6857999"/>
              <a:gd name="connsiteX70" fmla="*/ 11793411 w 12192000"/>
              <a:gd name="connsiteY70" fmla="*/ 6448589 h 6857999"/>
              <a:gd name="connsiteX71" fmla="*/ 11458063 w 12192000"/>
              <a:gd name="connsiteY71" fmla="*/ 6446454 h 6857999"/>
              <a:gd name="connsiteX72" fmla="*/ 11404253 w 12192000"/>
              <a:gd name="connsiteY72" fmla="*/ 6451917 h 6857999"/>
              <a:gd name="connsiteX73" fmla="*/ 11377315 w 12192000"/>
              <a:gd name="connsiteY73" fmla="*/ 6469487 h 6857999"/>
              <a:gd name="connsiteX74" fmla="*/ 11377315 w 12192000"/>
              <a:gd name="connsiteY74" fmla="*/ 6603823 h 6857999"/>
              <a:gd name="connsiteX75" fmla="*/ 11381184 w 12192000"/>
              <a:gd name="connsiteY75" fmla="*/ 6607676 h 6857999"/>
              <a:gd name="connsiteX76" fmla="*/ 11425351 w 12192000"/>
              <a:gd name="connsiteY76" fmla="*/ 6607676 h 6857999"/>
              <a:gd name="connsiteX77" fmla="*/ 11429228 w 12192000"/>
              <a:gd name="connsiteY77" fmla="*/ 6603823 h 6857999"/>
              <a:gd name="connsiteX78" fmla="*/ 11429228 w 12192000"/>
              <a:gd name="connsiteY78" fmla="*/ 6485899 h 6857999"/>
              <a:gd name="connsiteX79" fmla="*/ 11464112 w 12192000"/>
              <a:gd name="connsiteY79" fmla="*/ 6483455 h 6857999"/>
              <a:gd name="connsiteX80" fmla="*/ 11469610 w 12192000"/>
              <a:gd name="connsiteY80" fmla="*/ 6477109 h 6857999"/>
              <a:gd name="connsiteX81" fmla="*/ 11469610 w 12192000"/>
              <a:gd name="connsiteY81" fmla="*/ 6452750 h 6857999"/>
              <a:gd name="connsiteX82" fmla="*/ 11463268 w 12192000"/>
              <a:gd name="connsiteY82" fmla="*/ 6446454 h 6857999"/>
              <a:gd name="connsiteX83" fmla="*/ 10390455 w 12192000"/>
              <a:gd name="connsiteY83" fmla="*/ 6445921 h 6857999"/>
              <a:gd name="connsiteX84" fmla="*/ 10324288 w 12192000"/>
              <a:gd name="connsiteY84" fmla="*/ 6496039 h 6857999"/>
              <a:gd name="connsiteX85" fmla="*/ 10371781 w 12192000"/>
              <a:gd name="connsiteY85" fmla="*/ 6545666 h 6857999"/>
              <a:gd name="connsiteX86" fmla="*/ 10374814 w 12192000"/>
              <a:gd name="connsiteY86" fmla="*/ 6546191 h 6857999"/>
              <a:gd name="connsiteX87" fmla="*/ 10395418 w 12192000"/>
              <a:gd name="connsiteY87" fmla="*/ 6563203 h 6857999"/>
              <a:gd name="connsiteX88" fmla="*/ 10374237 w 12192000"/>
              <a:gd name="connsiteY88" fmla="*/ 6578581 h 6857999"/>
              <a:gd name="connsiteX89" fmla="*/ 10332769 w 12192000"/>
              <a:gd name="connsiteY89" fmla="*/ 6572285 h 6857999"/>
              <a:gd name="connsiteX90" fmla="*/ 10333036 w 12192000"/>
              <a:gd name="connsiteY90" fmla="*/ 6572285 h 6857999"/>
              <a:gd name="connsiteX91" fmla="*/ 10332226 w 12192000"/>
              <a:gd name="connsiteY91" fmla="*/ 6572034 h 6857999"/>
              <a:gd name="connsiteX92" fmla="*/ 10329201 w 12192000"/>
              <a:gd name="connsiteY92" fmla="*/ 6571459 h 6857999"/>
              <a:gd name="connsiteX93" fmla="*/ 10326151 w 12192000"/>
              <a:gd name="connsiteY93" fmla="*/ 6575304 h 6857999"/>
              <a:gd name="connsiteX94" fmla="*/ 10322893 w 12192000"/>
              <a:gd name="connsiteY94" fmla="*/ 6594759 h 6857999"/>
              <a:gd name="connsiteX95" fmla="*/ 10322333 w 12192000"/>
              <a:gd name="connsiteY95" fmla="*/ 6598854 h 6857999"/>
              <a:gd name="connsiteX96" fmla="*/ 10325341 w 12192000"/>
              <a:gd name="connsiteY96" fmla="*/ 6602698 h 6857999"/>
              <a:gd name="connsiteX97" fmla="*/ 10381673 w 12192000"/>
              <a:gd name="connsiteY97" fmla="*/ 6611237 h 6857999"/>
              <a:gd name="connsiteX98" fmla="*/ 10447832 w 12192000"/>
              <a:gd name="connsiteY98" fmla="*/ 6558867 h 6857999"/>
              <a:gd name="connsiteX99" fmla="*/ 10404200 w 12192000"/>
              <a:gd name="connsiteY99" fmla="*/ 6510324 h 6857999"/>
              <a:gd name="connsiteX100" fmla="*/ 10399746 w 12192000"/>
              <a:gd name="connsiteY100" fmla="*/ 6509516 h 6857999"/>
              <a:gd name="connsiteX101" fmla="*/ 10376694 w 12192000"/>
              <a:gd name="connsiteY101" fmla="*/ 6492487 h 6857999"/>
              <a:gd name="connsiteX102" fmla="*/ 10398702 w 12192000"/>
              <a:gd name="connsiteY102" fmla="*/ 6478285 h 6857999"/>
              <a:gd name="connsiteX103" fmla="*/ 10429467 w 12192000"/>
              <a:gd name="connsiteY103" fmla="*/ 6481821 h 6857999"/>
              <a:gd name="connsiteX104" fmla="*/ 10434939 w 12192000"/>
              <a:gd name="connsiteY104" fmla="*/ 6482663 h 6857999"/>
              <a:gd name="connsiteX105" fmla="*/ 10438791 w 12192000"/>
              <a:gd name="connsiteY105" fmla="*/ 6479903 h 6857999"/>
              <a:gd name="connsiteX106" fmla="*/ 10442643 w 12192000"/>
              <a:gd name="connsiteY106" fmla="*/ 6459872 h 6857999"/>
              <a:gd name="connsiteX107" fmla="*/ 10442911 w 12192000"/>
              <a:gd name="connsiteY107" fmla="*/ 6457696 h 6857999"/>
              <a:gd name="connsiteX108" fmla="*/ 10437154 w 12192000"/>
              <a:gd name="connsiteY108" fmla="*/ 6451916 h 6857999"/>
              <a:gd name="connsiteX109" fmla="*/ 10390455 w 12192000"/>
              <a:gd name="connsiteY109" fmla="*/ 6445921 h 6857999"/>
              <a:gd name="connsiteX110" fmla="*/ 11557511 w 12192000"/>
              <a:gd name="connsiteY110" fmla="*/ 6445912 h 6857999"/>
              <a:gd name="connsiteX111" fmla="*/ 11479228 w 12192000"/>
              <a:gd name="connsiteY111" fmla="*/ 6529780 h 6857999"/>
              <a:gd name="connsiteX112" fmla="*/ 11566017 w 12192000"/>
              <a:gd name="connsiteY112" fmla="*/ 6611495 h 6857999"/>
              <a:gd name="connsiteX113" fmla="*/ 11622333 w 12192000"/>
              <a:gd name="connsiteY113" fmla="*/ 6601597 h 6857999"/>
              <a:gd name="connsiteX114" fmla="*/ 11626452 w 12192000"/>
              <a:gd name="connsiteY114" fmla="*/ 6596410 h 6857999"/>
              <a:gd name="connsiteX115" fmla="*/ 11626201 w 12192000"/>
              <a:gd name="connsiteY115" fmla="*/ 6594200 h 6857999"/>
              <a:gd name="connsiteX116" fmla="*/ 11621798 w 12192000"/>
              <a:gd name="connsiteY116" fmla="*/ 6576112 h 6857999"/>
              <a:gd name="connsiteX117" fmla="*/ 11621798 w 12192000"/>
              <a:gd name="connsiteY117" fmla="*/ 6576379 h 6857999"/>
              <a:gd name="connsiteX118" fmla="*/ 11616835 w 12192000"/>
              <a:gd name="connsiteY118" fmla="*/ 6571726 h 6857999"/>
              <a:gd name="connsiteX119" fmla="*/ 11613259 w 12192000"/>
              <a:gd name="connsiteY119" fmla="*/ 6572284 h 6857999"/>
              <a:gd name="connsiteX120" fmla="*/ 11613543 w 12192000"/>
              <a:gd name="connsiteY120" fmla="*/ 6572284 h 6857999"/>
              <a:gd name="connsiteX121" fmla="*/ 11575350 w 12192000"/>
              <a:gd name="connsiteY121" fmla="*/ 6578580 h 6857999"/>
              <a:gd name="connsiteX122" fmla="*/ 11545663 w 12192000"/>
              <a:gd name="connsiteY122" fmla="*/ 6573886 h 6857999"/>
              <a:gd name="connsiteX123" fmla="*/ 11532770 w 12192000"/>
              <a:gd name="connsiteY123" fmla="*/ 6549260 h 6857999"/>
              <a:gd name="connsiteX124" fmla="*/ 11626201 w 12192000"/>
              <a:gd name="connsiteY124" fmla="*/ 6549260 h 6857999"/>
              <a:gd name="connsiteX125" fmla="*/ 11633596 w 12192000"/>
              <a:gd name="connsiteY125" fmla="*/ 6540754 h 6857999"/>
              <a:gd name="connsiteX126" fmla="*/ 11633596 w 12192000"/>
              <a:gd name="connsiteY126" fmla="*/ 6526210 h 6857999"/>
              <a:gd name="connsiteX127" fmla="*/ 11617662 w 12192000"/>
              <a:gd name="connsiteY127" fmla="*/ 6464525 h 6857999"/>
              <a:gd name="connsiteX128" fmla="*/ 11557511 w 12192000"/>
              <a:gd name="connsiteY128" fmla="*/ 6445912 h 6857999"/>
              <a:gd name="connsiteX129" fmla="*/ 10550012 w 12192000"/>
              <a:gd name="connsiteY129" fmla="*/ 6445912 h 6857999"/>
              <a:gd name="connsiteX130" fmla="*/ 10471479 w 12192000"/>
              <a:gd name="connsiteY130" fmla="*/ 6528988 h 6857999"/>
              <a:gd name="connsiteX131" fmla="*/ 10550012 w 12192000"/>
              <a:gd name="connsiteY131" fmla="*/ 6611496 h 6857999"/>
              <a:gd name="connsiteX132" fmla="*/ 10628579 w 12192000"/>
              <a:gd name="connsiteY132" fmla="*/ 6528988 h 6857999"/>
              <a:gd name="connsiteX133" fmla="*/ 10550012 w 12192000"/>
              <a:gd name="connsiteY133" fmla="*/ 6445912 h 6857999"/>
              <a:gd name="connsiteX134" fmla="*/ 11272930 w 12192000"/>
              <a:gd name="connsiteY134" fmla="*/ 6445904 h 6857999"/>
              <a:gd name="connsiteX135" fmla="*/ 11204841 w 12192000"/>
              <a:gd name="connsiteY135" fmla="*/ 6457112 h 6857999"/>
              <a:gd name="connsiteX136" fmla="*/ 11200981 w 12192000"/>
              <a:gd name="connsiteY136" fmla="*/ 6461240 h 6857999"/>
              <a:gd name="connsiteX137" fmla="*/ 11200981 w 12192000"/>
              <a:gd name="connsiteY137" fmla="*/ 6462316 h 6857999"/>
              <a:gd name="connsiteX138" fmla="*/ 11201265 w 12192000"/>
              <a:gd name="connsiteY138" fmla="*/ 6463158 h 6857999"/>
              <a:gd name="connsiteX139" fmla="*/ 11206462 w 12192000"/>
              <a:gd name="connsiteY139" fmla="*/ 6485899 h 6857999"/>
              <a:gd name="connsiteX140" fmla="*/ 11209244 w 12192000"/>
              <a:gd name="connsiteY140" fmla="*/ 6488109 h 6857999"/>
              <a:gd name="connsiteX141" fmla="*/ 11211442 w 12192000"/>
              <a:gd name="connsiteY141" fmla="*/ 6487826 h 6857999"/>
              <a:gd name="connsiteX142" fmla="*/ 11261149 w 12192000"/>
              <a:gd name="connsiteY142" fmla="*/ 6479620 h 6857999"/>
              <a:gd name="connsiteX143" fmla="*/ 11281436 w 12192000"/>
              <a:gd name="connsiteY143" fmla="*/ 6482330 h 6857999"/>
              <a:gd name="connsiteX144" fmla="*/ 11288053 w 12192000"/>
              <a:gd name="connsiteY144" fmla="*/ 6497974 h 6857999"/>
              <a:gd name="connsiteX145" fmla="*/ 11288053 w 12192000"/>
              <a:gd name="connsiteY145" fmla="*/ 6504829 h 6857999"/>
              <a:gd name="connsiteX146" fmla="*/ 11236158 w 12192000"/>
              <a:gd name="connsiteY146" fmla="*/ 6513068 h 6857999"/>
              <a:gd name="connsiteX147" fmla="*/ 11190829 w 12192000"/>
              <a:gd name="connsiteY147" fmla="*/ 6559626 h 6857999"/>
              <a:gd name="connsiteX148" fmla="*/ 11265510 w 12192000"/>
              <a:gd name="connsiteY148" fmla="*/ 6611488 h 6857999"/>
              <a:gd name="connsiteX149" fmla="*/ 11309727 w 12192000"/>
              <a:gd name="connsiteY149" fmla="*/ 6607661 h 6857999"/>
              <a:gd name="connsiteX150" fmla="*/ 11339732 w 12192000"/>
              <a:gd name="connsiteY150" fmla="*/ 6576096 h 6857999"/>
              <a:gd name="connsiteX151" fmla="*/ 11339732 w 12192000"/>
              <a:gd name="connsiteY151" fmla="*/ 6493304 h 6857999"/>
              <a:gd name="connsiteX152" fmla="*/ 11319904 w 12192000"/>
              <a:gd name="connsiteY152" fmla="*/ 6454936 h 6857999"/>
              <a:gd name="connsiteX153" fmla="*/ 11272930 w 12192000"/>
              <a:gd name="connsiteY153" fmla="*/ 6445904 h 6857999"/>
              <a:gd name="connsiteX154" fmla="*/ 10723313 w 12192000"/>
              <a:gd name="connsiteY154" fmla="*/ 6380908 h 6857999"/>
              <a:gd name="connsiteX155" fmla="*/ 10670080 w 12192000"/>
              <a:gd name="connsiteY155" fmla="*/ 6429993 h 6857999"/>
              <a:gd name="connsiteX156" fmla="*/ 10670080 w 12192000"/>
              <a:gd name="connsiteY156" fmla="*/ 6449715 h 6857999"/>
              <a:gd name="connsiteX157" fmla="*/ 10646718 w 12192000"/>
              <a:gd name="connsiteY157" fmla="*/ 6449715 h 6857999"/>
              <a:gd name="connsiteX158" fmla="*/ 10642858 w 12192000"/>
              <a:gd name="connsiteY158" fmla="*/ 6453560 h 6857999"/>
              <a:gd name="connsiteX159" fmla="*/ 10642858 w 12192000"/>
              <a:gd name="connsiteY159" fmla="*/ 6481805 h 6857999"/>
              <a:gd name="connsiteX160" fmla="*/ 10646718 w 12192000"/>
              <a:gd name="connsiteY160" fmla="*/ 6485658 h 6857999"/>
              <a:gd name="connsiteX161" fmla="*/ 10670080 w 12192000"/>
              <a:gd name="connsiteY161" fmla="*/ 6485658 h 6857999"/>
              <a:gd name="connsiteX162" fmla="*/ 10670080 w 12192000"/>
              <a:gd name="connsiteY162" fmla="*/ 6603808 h 6857999"/>
              <a:gd name="connsiteX163" fmla="*/ 10673915 w 12192000"/>
              <a:gd name="connsiteY163" fmla="*/ 6607661 h 6857999"/>
              <a:gd name="connsiteX164" fmla="*/ 10718417 w 12192000"/>
              <a:gd name="connsiteY164" fmla="*/ 6607661 h 6857999"/>
              <a:gd name="connsiteX165" fmla="*/ 10722252 w 12192000"/>
              <a:gd name="connsiteY165" fmla="*/ 6603808 h 6857999"/>
              <a:gd name="connsiteX166" fmla="*/ 10722252 w 12192000"/>
              <a:gd name="connsiteY166" fmla="*/ 6485666 h 6857999"/>
              <a:gd name="connsiteX167" fmla="*/ 10793140 w 12192000"/>
              <a:gd name="connsiteY167" fmla="*/ 6485666 h 6857999"/>
              <a:gd name="connsiteX168" fmla="*/ 10793140 w 12192000"/>
              <a:gd name="connsiteY168" fmla="*/ 6559126 h 6857999"/>
              <a:gd name="connsiteX169" fmla="*/ 10849456 w 12192000"/>
              <a:gd name="connsiteY169" fmla="*/ 6610112 h 6857999"/>
              <a:gd name="connsiteX170" fmla="*/ 10887875 w 12192000"/>
              <a:gd name="connsiteY170" fmla="*/ 6604608 h 6857999"/>
              <a:gd name="connsiteX171" fmla="*/ 10892011 w 12192000"/>
              <a:gd name="connsiteY171" fmla="*/ 6599688 h 6857999"/>
              <a:gd name="connsiteX172" fmla="*/ 10891760 w 12192000"/>
              <a:gd name="connsiteY172" fmla="*/ 6597228 h 6857999"/>
              <a:gd name="connsiteX173" fmla="*/ 10887607 w 12192000"/>
              <a:gd name="connsiteY173" fmla="*/ 6575563 h 6857999"/>
              <a:gd name="connsiteX174" fmla="*/ 10884315 w 12192000"/>
              <a:gd name="connsiteY174" fmla="*/ 6572277 h 6857999"/>
              <a:gd name="connsiteX175" fmla="*/ 10882134 w 12192000"/>
              <a:gd name="connsiteY175" fmla="*/ 6572527 h 6857999"/>
              <a:gd name="connsiteX176" fmla="*/ 10880747 w 12192000"/>
              <a:gd name="connsiteY176" fmla="*/ 6572811 h 6857999"/>
              <a:gd name="connsiteX177" fmla="*/ 10863435 w 12192000"/>
              <a:gd name="connsiteY177" fmla="*/ 6574162 h 6857999"/>
              <a:gd name="connsiteX178" fmla="*/ 10844752 w 12192000"/>
              <a:gd name="connsiteY178" fmla="*/ 6555799 h 6857999"/>
              <a:gd name="connsiteX179" fmla="*/ 10844752 w 12192000"/>
              <a:gd name="connsiteY179" fmla="*/ 6485891 h 6857999"/>
              <a:gd name="connsiteX180" fmla="*/ 10923026 w 12192000"/>
              <a:gd name="connsiteY180" fmla="*/ 6485891 h 6857999"/>
              <a:gd name="connsiteX181" fmla="*/ 10923026 w 12192000"/>
              <a:gd name="connsiteY181" fmla="*/ 6588722 h 6857999"/>
              <a:gd name="connsiteX182" fmla="*/ 10949404 w 12192000"/>
              <a:gd name="connsiteY182" fmla="*/ 6605985 h 6857999"/>
              <a:gd name="connsiteX183" fmla="*/ 10996388 w 12192000"/>
              <a:gd name="connsiteY183" fmla="*/ 6611730 h 6857999"/>
              <a:gd name="connsiteX184" fmla="*/ 11046938 w 12192000"/>
              <a:gd name="connsiteY184" fmla="*/ 6598004 h 6857999"/>
              <a:gd name="connsiteX185" fmla="*/ 11105661 w 12192000"/>
              <a:gd name="connsiteY185" fmla="*/ 6611730 h 6857999"/>
              <a:gd name="connsiteX186" fmla="*/ 11167483 w 12192000"/>
              <a:gd name="connsiteY186" fmla="*/ 6566215 h 6857999"/>
              <a:gd name="connsiteX187" fmla="*/ 11167483 w 12192000"/>
              <a:gd name="connsiteY187" fmla="*/ 6453560 h 6857999"/>
              <a:gd name="connsiteX188" fmla="*/ 11163665 w 12192000"/>
              <a:gd name="connsiteY188" fmla="*/ 6449715 h 6857999"/>
              <a:gd name="connsiteX189" fmla="*/ 11119414 w 12192000"/>
              <a:gd name="connsiteY189" fmla="*/ 6449715 h 6857999"/>
              <a:gd name="connsiteX190" fmla="*/ 11115562 w 12192000"/>
              <a:gd name="connsiteY190" fmla="*/ 6453560 h 6857999"/>
              <a:gd name="connsiteX191" fmla="*/ 11115562 w 12192000"/>
              <a:gd name="connsiteY191" fmla="*/ 6558851 h 6857999"/>
              <a:gd name="connsiteX192" fmla="*/ 11093061 w 12192000"/>
              <a:gd name="connsiteY192" fmla="*/ 6579941 h 6857999"/>
              <a:gd name="connsiteX193" fmla="*/ 11071328 w 12192000"/>
              <a:gd name="connsiteY193" fmla="*/ 6576897 h 6857999"/>
              <a:gd name="connsiteX194" fmla="*/ 11071328 w 12192000"/>
              <a:gd name="connsiteY194" fmla="*/ 6453560 h 6857999"/>
              <a:gd name="connsiteX195" fmla="*/ 11067493 w 12192000"/>
              <a:gd name="connsiteY195" fmla="*/ 6449715 h 6857999"/>
              <a:gd name="connsiteX196" fmla="*/ 11023292 w 12192000"/>
              <a:gd name="connsiteY196" fmla="*/ 6449715 h 6857999"/>
              <a:gd name="connsiteX197" fmla="*/ 11019440 w 12192000"/>
              <a:gd name="connsiteY197" fmla="*/ 6453560 h 6857999"/>
              <a:gd name="connsiteX198" fmla="*/ 11019440 w 12192000"/>
              <a:gd name="connsiteY198" fmla="*/ 6558851 h 6857999"/>
              <a:gd name="connsiteX199" fmla="*/ 11000757 w 12192000"/>
              <a:gd name="connsiteY199" fmla="*/ 6579941 h 6857999"/>
              <a:gd name="connsiteX200" fmla="*/ 10974939 w 12192000"/>
              <a:gd name="connsiteY200" fmla="*/ 6577197 h 6857999"/>
              <a:gd name="connsiteX201" fmla="*/ 10974939 w 12192000"/>
              <a:gd name="connsiteY201" fmla="*/ 6453560 h 6857999"/>
              <a:gd name="connsiteX202" fmla="*/ 10971120 w 12192000"/>
              <a:gd name="connsiteY202" fmla="*/ 6449715 h 6857999"/>
              <a:gd name="connsiteX203" fmla="*/ 10844743 w 12192000"/>
              <a:gd name="connsiteY203" fmla="*/ 6449715 h 6857999"/>
              <a:gd name="connsiteX204" fmla="*/ 10844743 w 12192000"/>
              <a:gd name="connsiteY204" fmla="*/ 6400922 h 6857999"/>
              <a:gd name="connsiteX205" fmla="*/ 10839797 w 12192000"/>
              <a:gd name="connsiteY205" fmla="*/ 6395735 h 6857999"/>
              <a:gd name="connsiteX206" fmla="*/ 10836522 w 12192000"/>
              <a:gd name="connsiteY206" fmla="*/ 6396277 h 6857999"/>
              <a:gd name="connsiteX207" fmla="*/ 10798580 w 12192000"/>
              <a:gd name="connsiteY207" fmla="*/ 6402866 h 6857999"/>
              <a:gd name="connsiteX208" fmla="*/ 10793123 w 12192000"/>
              <a:gd name="connsiteY208" fmla="*/ 6410529 h 6857999"/>
              <a:gd name="connsiteX209" fmla="*/ 10793123 w 12192000"/>
              <a:gd name="connsiteY209" fmla="*/ 6449724 h 6857999"/>
              <a:gd name="connsiteX210" fmla="*/ 10722244 w 12192000"/>
              <a:gd name="connsiteY210" fmla="*/ 6449724 h 6857999"/>
              <a:gd name="connsiteX211" fmla="*/ 10722244 w 12192000"/>
              <a:gd name="connsiteY211" fmla="*/ 6432470 h 6857999"/>
              <a:gd name="connsiteX212" fmla="*/ 10726087 w 12192000"/>
              <a:gd name="connsiteY212" fmla="*/ 6420119 h 6857999"/>
              <a:gd name="connsiteX213" fmla="*/ 10740668 w 12192000"/>
              <a:gd name="connsiteY213" fmla="*/ 6416583 h 6857999"/>
              <a:gd name="connsiteX214" fmla="*/ 10755758 w 12192000"/>
              <a:gd name="connsiteY214" fmla="*/ 6417934 h 6857999"/>
              <a:gd name="connsiteX215" fmla="*/ 10757680 w 12192000"/>
              <a:gd name="connsiteY215" fmla="*/ 6418201 h 6857999"/>
              <a:gd name="connsiteX216" fmla="*/ 10761498 w 12192000"/>
              <a:gd name="connsiteY216" fmla="*/ 6418760 h 6857999"/>
              <a:gd name="connsiteX217" fmla="*/ 10764247 w 12192000"/>
              <a:gd name="connsiteY217" fmla="*/ 6414916 h 6857999"/>
              <a:gd name="connsiteX218" fmla="*/ 10767589 w 12192000"/>
              <a:gd name="connsiteY218" fmla="*/ 6392983 h 6857999"/>
              <a:gd name="connsiteX219" fmla="*/ 10767840 w 12192000"/>
              <a:gd name="connsiteY219" fmla="*/ 6390524 h 6857999"/>
              <a:gd name="connsiteX220" fmla="*/ 10764815 w 12192000"/>
              <a:gd name="connsiteY220" fmla="*/ 6386128 h 6857999"/>
              <a:gd name="connsiteX221" fmla="*/ 10723313 w 12192000"/>
              <a:gd name="connsiteY221" fmla="*/ 6380908 h 6857999"/>
              <a:gd name="connsiteX222" fmla="*/ 10171834 w 12192000"/>
              <a:gd name="connsiteY222" fmla="*/ 6345000 h 6857999"/>
              <a:gd name="connsiteX223" fmla="*/ 10070465 w 12192000"/>
              <a:gd name="connsiteY223" fmla="*/ 6451084 h 6857999"/>
              <a:gd name="connsiteX224" fmla="*/ 10070465 w 12192000"/>
              <a:gd name="connsiteY224" fmla="*/ 6508391 h 6857999"/>
              <a:gd name="connsiteX225" fmla="*/ 10133382 w 12192000"/>
              <a:gd name="connsiteY225" fmla="*/ 6508391 h 6857999"/>
              <a:gd name="connsiteX226" fmla="*/ 10133382 w 12192000"/>
              <a:gd name="connsiteY226" fmla="*/ 6455771 h 6857999"/>
              <a:gd name="connsiteX227" fmla="*/ 10177892 w 12192000"/>
              <a:gd name="connsiteY227" fmla="*/ 6407244 h 6857999"/>
              <a:gd name="connsiteX228" fmla="*/ 10200118 w 12192000"/>
              <a:gd name="connsiteY228" fmla="*/ 6407244 h 6857999"/>
              <a:gd name="connsiteX229" fmla="*/ 10206735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88053" y="6533358"/>
                </a:moveTo>
                <a:lnTo>
                  <a:pt x="11288053" y="6577748"/>
                </a:lnTo>
                <a:cubicBezTo>
                  <a:pt x="11286416" y="6578323"/>
                  <a:pt x="11277626" y="6580508"/>
                  <a:pt x="11266363" y="6580508"/>
                </a:cubicBezTo>
                <a:cubicBezTo>
                  <a:pt x="11255918" y="6580500"/>
                  <a:pt x="11240561" y="6578315"/>
                  <a:pt x="11240561" y="6559126"/>
                </a:cubicBezTo>
                <a:cubicBezTo>
                  <a:pt x="11240561" y="6541847"/>
                  <a:pt x="11249334" y="6539654"/>
                  <a:pt x="11260848" y="6537753"/>
                </a:cubicBezTo>
                <a:close/>
                <a:moveTo>
                  <a:pt x="10550012" y="6479619"/>
                </a:moveTo>
                <a:cubicBezTo>
                  <a:pt x="10574210" y="6479619"/>
                  <a:pt x="10575614" y="6493888"/>
                  <a:pt x="10575614" y="6528988"/>
                </a:cubicBezTo>
                <a:cubicBezTo>
                  <a:pt x="10575614" y="6563788"/>
                  <a:pt x="10574218" y="6577739"/>
                  <a:pt x="10550012" y="6577739"/>
                </a:cubicBezTo>
                <a:cubicBezTo>
                  <a:pt x="10525873" y="6577739"/>
                  <a:pt x="10524511" y="6563788"/>
                  <a:pt x="10524511" y="6528988"/>
                </a:cubicBezTo>
                <a:cubicBezTo>
                  <a:pt x="10524511" y="6493888"/>
                  <a:pt x="10525882" y="6479619"/>
                  <a:pt x="10550012" y="6479619"/>
                </a:cubicBezTo>
                <a:close/>
                <a:moveTo>
                  <a:pt x="11557502" y="6479077"/>
                </a:moveTo>
                <a:cubicBezTo>
                  <a:pt x="11572334" y="6479077"/>
                  <a:pt x="11579193" y="6484823"/>
                  <a:pt x="11581926" y="6494421"/>
                </a:cubicBezTo>
                <a:cubicBezTo>
                  <a:pt x="11583597" y="6500184"/>
                  <a:pt x="11583597" y="6509499"/>
                  <a:pt x="11583597" y="6515511"/>
                </a:cubicBezTo>
                <a:lnTo>
                  <a:pt x="11583597" y="6519889"/>
                </a:lnTo>
                <a:lnTo>
                  <a:pt x="11532252" y="6519889"/>
                </a:lnTo>
                <a:lnTo>
                  <a:pt x="11532252" y="6517179"/>
                </a:lnTo>
                <a:cubicBezTo>
                  <a:pt x="11532252" y="6512801"/>
                  <a:pt x="11532494" y="6502627"/>
                  <a:pt x="11533622" y="6496340"/>
                </a:cubicBezTo>
                <a:cubicBezTo>
                  <a:pt x="11535770" y="6485899"/>
                  <a:pt x="11541577" y="6479077"/>
                  <a:pt x="11557502" y="6479077"/>
                </a:cubicBezTo>
                <a:close/>
                <a:moveTo>
                  <a:pt x="11709921" y="6460415"/>
                </a:moveTo>
                <a:lnTo>
                  <a:pt x="11715151" y="6460415"/>
                </a:lnTo>
                <a:lnTo>
                  <a:pt x="11722847" y="6487000"/>
                </a:lnTo>
                <a:lnTo>
                  <a:pt x="11702242" y="6487000"/>
                </a:lnTo>
                <a:close/>
                <a:moveTo>
                  <a:pt x="11699510" y="6450024"/>
                </a:moveTo>
                <a:cubicBezTo>
                  <a:pt x="11698933" y="6450024"/>
                  <a:pt x="11698682" y="6450533"/>
                  <a:pt x="11698432" y="6450850"/>
                </a:cubicBezTo>
                <a:lnTo>
                  <a:pt x="11676582" y="6515787"/>
                </a:lnTo>
                <a:cubicBezTo>
                  <a:pt x="11676582" y="6515787"/>
                  <a:pt x="11676298" y="6516646"/>
                  <a:pt x="11676298" y="6516896"/>
                </a:cubicBezTo>
                <a:cubicBezTo>
                  <a:pt x="11676298" y="6517180"/>
                  <a:pt x="11676582" y="6517455"/>
                  <a:pt x="11677092" y="6517455"/>
                </a:cubicBezTo>
                <a:lnTo>
                  <a:pt x="11693151" y="6517455"/>
                </a:lnTo>
                <a:cubicBezTo>
                  <a:pt x="11693753" y="6517455"/>
                  <a:pt x="11694012" y="6516896"/>
                  <a:pt x="11694279" y="6516329"/>
                </a:cubicBezTo>
                <a:lnTo>
                  <a:pt x="11699242" y="6497716"/>
                </a:lnTo>
                <a:lnTo>
                  <a:pt x="11725846" y="6497716"/>
                </a:lnTo>
                <a:lnTo>
                  <a:pt x="11730793" y="6516329"/>
                </a:lnTo>
                <a:cubicBezTo>
                  <a:pt x="11731044" y="6516905"/>
                  <a:pt x="11731378" y="6517455"/>
                  <a:pt x="11731921" y="6517455"/>
                </a:cubicBezTo>
                <a:lnTo>
                  <a:pt x="11747028" y="6517455"/>
                </a:lnTo>
                <a:cubicBezTo>
                  <a:pt x="11747537" y="6517455"/>
                  <a:pt x="11747838" y="6517188"/>
                  <a:pt x="11747838" y="6516896"/>
                </a:cubicBezTo>
                <a:cubicBezTo>
                  <a:pt x="11747838" y="6516646"/>
                  <a:pt x="11747537" y="6515787"/>
                  <a:pt x="11747537" y="6515787"/>
                </a:cubicBezTo>
                <a:lnTo>
                  <a:pt x="11726707" y="6450850"/>
                </a:lnTo>
                <a:cubicBezTo>
                  <a:pt x="11726423" y="6450533"/>
                  <a:pt x="11725846" y="6450024"/>
                  <a:pt x="11725579" y="6450024"/>
                </a:cubicBezTo>
                <a:close/>
                <a:moveTo>
                  <a:pt x="10177332" y="6449732"/>
                </a:moveTo>
                <a:lnTo>
                  <a:pt x="10177332" y="6496048"/>
                </a:lnTo>
                <a:cubicBezTo>
                  <a:pt x="10177332" y="6528438"/>
                  <a:pt x="10164163" y="6547343"/>
                  <a:pt x="10132839" y="6547343"/>
                </a:cubicBezTo>
                <a:lnTo>
                  <a:pt x="10110061" y="6547343"/>
                </a:lnTo>
                <a:lnTo>
                  <a:pt x="10103444" y="6609537"/>
                </a:lnTo>
                <a:lnTo>
                  <a:pt x="10136139" y="6609537"/>
                </a:lnTo>
                <a:cubicBezTo>
                  <a:pt x="10194369" y="6609537"/>
                  <a:pt x="10240224" y="6567341"/>
                  <a:pt x="10240224" y="6500735"/>
                </a:cubicBezTo>
                <a:lnTo>
                  <a:pt x="10240224" y="6449732"/>
                </a:lnTo>
                <a:close/>
                <a:moveTo>
                  <a:pt x="11793411" y="6448589"/>
                </a:moveTo>
                <a:cubicBezTo>
                  <a:pt x="11769264" y="6448623"/>
                  <a:pt x="11759087" y="6457988"/>
                  <a:pt x="11759087" y="6483747"/>
                </a:cubicBezTo>
                <a:cubicBezTo>
                  <a:pt x="11759087" y="6508931"/>
                  <a:pt x="11767325" y="6518563"/>
                  <a:pt x="11795074" y="6518563"/>
                </a:cubicBezTo>
                <a:cubicBezTo>
                  <a:pt x="11801942" y="6518563"/>
                  <a:pt x="11810181" y="6517454"/>
                  <a:pt x="11814300" y="6516645"/>
                </a:cubicBezTo>
                <a:lnTo>
                  <a:pt x="11814057" y="6516645"/>
                </a:lnTo>
                <a:cubicBezTo>
                  <a:pt x="11819004" y="6515294"/>
                  <a:pt x="11820065" y="6513343"/>
                  <a:pt x="11820065" y="6508698"/>
                </a:cubicBezTo>
                <a:lnTo>
                  <a:pt x="11820065" y="6480678"/>
                </a:lnTo>
                <a:cubicBezTo>
                  <a:pt x="11820065" y="6479886"/>
                  <a:pt x="11819781" y="6479619"/>
                  <a:pt x="11818995" y="6479619"/>
                </a:cubicBezTo>
                <a:lnTo>
                  <a:pt x="11793411" y="6479619"/>
                </a:lnTo>
                <a:cubicBezTo>
                  <a:pt x="11792567" y="6479619"/>
                  <a:pt x="11792333" y="6479886"/>
                  <a:pt x="11792333" y="6480678"/>
                </a:cubicBezTo>
                <a:lnTo>
                  <a:pt x="11792333" y="6488917"/>
                </a:lnTo>
                <a:cubicBezTo>
                  <a:pt x="11792333" y="6490026"/>
                  <a:pt x="11793144" y="6490310"/>
                  <a:pt x="11793411" y="6490310"/>
                </a:cubicBezTo>
                <a:lnTo>
                  <a:pt x="11804399" y="6491403"/>
                </a:lnTo>
                <a:lnTo>
                  <a:pt x="11804399" y="6507572"/>
                </a:lnTo>
                <a:cubicBezTo>
                  <a:pt x="11804399" y="6507572"/>
                  <a:pt x="11799728" y="6507856"/>
                  <a:pt x="11795592" y="6507856"/>
                </a:cubicBezTo>
                <a:cubicBezTo>
                  <a:pt x="11782716" y="6507856"/>
                  <a:pt x="11775840" y="6504270"/>
                  <a:pt x="11775840" y="6484273"/>
                </a:cubicBezTo>
                <a:cubicBezTo>
                  <a:pt x="11775840" y="6463466"/>
                  <a:pt x="11783251" y="6460147"/>
                  <a:pt x="11797514" y="6460147"/>
                </a:cubicBezTo>
                <a:cubicBezTo>
                  <a:pt x="11803588" y="6460147"/>
                  <a:pt x="11809896" y="6461223"/>
                  <a:pt x="11814049" y="6462049"/>
                </a:cubicBezTo>
                <a:cubicBezTo>
                  <a:pt x="11814283" y="6462299"/>
                  <a:pt x="11814860" y="6462299"/>
                  <a:pt x="11815403" y="6462299"/>
                </a:cubicBezTo>
                <a:cubicBezTo>
                  <a:pt x="11815403" y="6462299"/>
                  <a:pt x="11816773" y="6462566"/>
                  <a:pt x="11817600" y="6462566"/>
                </a:cubicBezTo>
                <a:cubicBezTo>
                  <a:pt x="11818427" y="6462566"/>
                  <a:pt x="11818669" y="6462040"/>
                  <a:pt x="11818995" y="6460689"/>
                </a:cubicBezTo>
                <a:lnTo>
                  <a:pt x="11819773" y="6456278"/>
                </a:lnTo>
                <a:cubicBezTo>
                  <a:pt x="11820057" y="6455469"/>
                  <a:pt x="11820057" y="6454360"/>
                  <a:pt x="11820057" y="6454101"/>
                </a:cubicBezTo>
                <a:cubicBezTo>
                  <a:pt x="11820057" y="6453276"/>
                  <a:pt x="11819246" y="6453009"/>
                  <a:pt x="11818661" y="6452434"/>
                </a:cubicBezTo>
                <a:cubicBezTo>
                  <a:pt x="11816480" y="6451625"/>
                  <a:pt x="11806880" y="6448589"/>
                  <a:pt x="11793411" y="6448589"/>
                </a:cubicBezTo>
                <a:close/>
                <a:moveTo>
                  <a:pt x="11458063" y="6446454"/>
                </a:moveTo>
                <a:cubicBezTo>
                  <a:pt x="11439096" y="6446454"/>
                  <a:pt x="11418809" y="6448631"/>
                  <a:pt x="11404253" y="6451917"/>
                </a:cubicBezTo>
                <a:cubicBezTo>
                  <a:pt x="11386631" y="6455769"/>
                  <a:pt x="11377315" y="6459055"/>
                  <a:pt x="11377315" y="6469487"/>
                </a:cubicBezTo>
                <a:lnTo>
                  <a:pt x="11377315" y="6603823"/>
                </a:lnTo>
                <a:cubicBezTo>
                  <a:pt x="11377315" y="6606017"/>
                  <a:pt x="11378969" y="6607676"/>
                  <a:pt x="11381184" y="6607676"/>
                </a:cubicBezTo>
                <a:lnTo>
                  <a:pt x="11425351" y="6607676"/>
                </a:lnTo>
                <a:cubicBezTo>
                  <a:pt x="11427565" y="6607676"/>
                  <a:pt x="11429228" y="6606008"/>
                  <a:pt x="11429228" y="6603823"/>
                </a:cubicBezTo>
                <a:lnTo>
                  <a:pt x="11429228" y="6485899"/>
                </a:lnTo>
                <a:cubicBezTo>
                  <a:pt x="11431977" y="6485340"/>
                  <a:pt x="11446524" y="6483455"/>
                  <a:pt x="11464112" y="6483455"/>
                </a:cubicBezTo>
                <a:cubicBezTo>
                  <a:pt x="11469610" y="6483455"/>
                  <a:pt x="11469610" y="6480428"/>
                  <a:pt x="11469610" y="6477109"/>
                </a:cubicBezTo>
                <a:lnTo>
                  <a:pt x="11469610" y="6452750"/>
                </a:lnTo>
                <a:cubicBezTo>
                  <a:pt x="11469610" y="6448055"/>
                  <a:pt x="11467404" y="6446454"/>
                  <a:pt x="11463268" y="6446454"/>
                </a:cubicBezTo>
                <a:close/>
                <a:moveTo>
                  <a:pt x="10390455" y="6445921"/>
                </a:moveTo>
                <a:cubicBezTo>
                  <a:pt x="10364119" y="6445912"/>
                  <a:pt x="10324288" y="6450273"/>
                  <a:pt x="10324288" y="6496039"/>
                </a:cubicBezTo>
                <a:cubicBezTo>
                  <a:pt x="10324288" y="6536076"/>
                  <a:pt x="10351176" y="6541838"/>
                  <a:pt x="10371781" y="6545666"/>
                </a:cubicBezTo>
                <a:lnTo>
                  <a:pt x="10374814" y="6546191"/>
                </a:lnTo>
                <a:cubicBezTo>
                  <a:pt x="10389076" y="6548985"/>
                  <a:pt x="10395418" y="6550603"/>
                  <a:pt x="10395418" y="6563203"/>
                </a:cubicBezTo>
                <a:cubicBezTo>
                  <a:pt x="10395418" y="6575562"/>
                  <a:pt x="10384414" y="6578581"/>
                  <a:pt x="10374237" y="6578581"/>
                </a:cubicBezTo>
                <a:cubicBezTo>
                  <a:pt x="10358604" y="6578581"/>
                  <a:pt x="10339921" y="6574169"/>
                  <a:pt x="10332769" y="6572285"/>
                </a:cubicBezTo>
                <a:lnTo>
                  <a:pt x="10333036" y="6572285"/>
                </a:lnTo>
                <a:cubicBezTo>
                  <a:pt x="10332769" y="6572285"/>
                  <a:pt x="10332476" y="6572034"/>
                  <a:pt x="10332226" y="6572034"/>
                </a:cubicBezTo>
                <a:cubicBezTo>
                  <a:pt x="10331131" y="6571734"/>
                  <a:pt x="10330028" y="6571459"/>
                  <a:pt x="10329201" y="6571459"/>
                </a:cubicBezTo>
                <a:cubicBezTo>
                  <a:pt x="10327848" y="6571459"/>
                  <a:pt x="10326452" y="6572535"/>
                  <a:pt x="10326151" y="6575304"/>
                </a:cubicBezTo>
                <a:lnTo>
                  <a:pt x="10322893" y="6594759"/>
                </a:lnTo>
                <a:cubicBezTo>
                  <a:pt x="10322609" y="6596143"/>
                  <a:pt x="10322333" y="6598028"/>
                  <a:pt x="10322333" y="6598854"/>
                </a:cubicBezTo>
                <a:cubicBezTo>
                  <a:pt x="10322333" y="6600772"/>
                  <a:pt x="10323143" y="6601597"/>
                  <a:pt x="10325341" y="6602698"/>
                </a:cubicBezTo>
                <a:cubicBezTo>
                  <a:pt x="10331415" y="6605208"/>
                  <a:pt x="10356106" y="6611237"/>
                  <a:pt x="10381673" y="6611237"/>
                </a:cubicBezTo>
                <a:cubicBezTo>
                  <a:pt x="10419298" y="6611237"/>
                  <a:pt x="10447832" y="6598036"/>
                  <a:pt x="10447832" y="6558867"/>
                </a:cubicBezTo>
                <a:cubicBezTo>
                  <a:pt x="10447832" y="6521307"/>
                  <a:pt x="10425606" y="6514177"/>
                  <a:pt x="10404200" y="6510324"/>
                </a:cubicBezTo>
                <a:lnTo>
                  <a:pt x="10399746" y="6509516"/>
                </a:lnTo>
                <a:cubicBezTo>
                  <a:pt x="10387439" y="6507322"/>
                  <a:pt x="10376694" y="6505121"/>
                  <a:pt x="10376694" y="6492487"/>
                </a:cubicBezTo>
                <a:cubicBezTo>
                  <a:pt x="10376694" y="6479903"/>
                  <a:pt x="10389620" y="6478285"/>
                  <a:pt x="10398702" y="6478285"/>
                </a:cubicBezTo>
                <a:cubicBezTo>
                  <a:pt x="10410500" y="6478285"/>
                  <a:pt x="10423125" y="6480445"/>
                  <a:pt x="10429467" y="6481821"/>
                </a:cubicBezTo>
                <a:cubicBezTo>
                  <a:pt x="10433010" y="6482663"/>
                  <a:pt x="10433853" y="6482663"/>
                  <a:pt x="10434939" y="6482663"/>
                </a:cubicBezTo>
                <a:cubicBezTo>
                  <a:pt x="10436335" y="6482663"/>
                  <a:pt x="10438215" y="6481270"/>
                  <a:pt x="10438791" y="6479903"/>
                </a:cubicBezTo>
                <a:cubicBezTo>
                  <a:pt x="10439903" y="6473315"/>
                  <a:pt x="10441557" y="6466493"/>
                  <a:pt x="10442643" y="6459872"/>
                </a:cubicBezTo>
                <a:cubicBezTo>
                  <a:pt x="10442643" y="6459872"/>
                  <a:pt x="10442911" y="6458504"/>
                  <a:pt x="10442911" y="6457696"/>
                </a:cubicBezTo>
                <a:cubicBezTo>
                  <a:pt x="10442911" y="6454393"/>
                  <a:pt x="10441557" y="6453042"/>
                  <a:pt x="10437154" y="6451916"/>
                </a:cubicBezTo>
                <a:cubicBezTo>
                  <a:pt x="10428631" y="6449723"/>
                  <a:pt x="10411620" y="6445921"/>
                  <a:pt x="10390455" y="6445921"/>
                </a:cubicBezTo>
                <a:close/>
                <a:moveTo>
                  <a:pt x="11557511" y="6445912"/>
                </a:moveTo>
                <a:cubicBezTo>
                  <a:pt x="11499256" y="6445912"/>
                  <a:pt x="11479228" y="6468637"/>
                  <a:pt x="11479228" y="6529780"/>
                </a:cubicBezTo>
                <a:cubicBezTo>
                  <a:pt x="11479228" y="6591214"/>
                  <a:pt x="11506960" y="6611495"/>
                  <a:pt x="11566017" y="6611495"/>
                </a:cubicBezTo>
                <a:cubicBezTo>
                  <a:pt x="11592395" y="6611495"/>
                  <a:pt x="11612682" y="6604891"/>
                  <a:pt x="11622333" y="6601597"/>
                </a:cubicBezTo>
                <a:cubicBezTo>
                  <a:pt x="11625341" y="6600529"/>
                  <a:pt x="11626452" y="6598311"/>
                  <a:pt x="11626452" y="6596410"/>
                </a:cubicBezTo>
                <a:cubicBezTo>
                  <a:pt x="11626452" y="6595851"/>
                  <a:pt x="11626452" y="6595317"/>
                  <a:pt x="11626201" y="6594200"/>
                </a:cubicBezTo>
                <a:lnTo>
                  <a:pt x="11621798" y="6576112"/>
                </a:lnTo>
                <a:lnTo>
                  <a:pt x="11621798" y="6576379"/>
                </a:lnTo>
                <a:cubicBezTo>
                  <a:pt x="11620703" y="6572543"/>
                  <a:pt x="11619032" y="6571726"/>
                  <a:pt x="11616835" y="6571726"/>
                </a:cubicBezTo>
                <a:cubicBezTo>
                  <a:pt x="11615707" y="6571726"/>
                  <a:pt x="11614336" y="6572026"/>
                  <a:pt x="11613259" y="6572284"/>
                </a:cubicBezTo>
                <a:lnTo>
                  <a:pt x="11613543" y="6572284"/>
                </a:lnTo>
                <a:cubicBezTo>
                  <a:pt x="11605814" y="6574478"/>
                  <a:pt x="11591568" y="6578580"/>
                  <a:pt x="11575350" y="6578580"/>
                </a:cubicBezTo>
                <a:cubicBezTo>
                  <a:pt x="11561897" y="6578580"/>
                  <a:pt x="11552531" y="6577488"/>
                  <a:pt x="11545663" y="6573886"/>
                </a:cubicBezTo>
                <a:cubicBezTo>
                  <a:pt x="11537725" y="6569808"/>
                  <a:pt x="11532770" y="6561585"/>
                  <a:pt x="11532770" y="6549260"/>
                </a:cubicBezTo>
                <a:lnTo>
                  <a:pt x="11626201" y="6549260"/>
                </a:lnTo>
                <a:cubicBezTo>
                  <a:pt x="11632485" y="6549260"/>
                  <a:pt x="11633596" y="6544865"/>
                  <a:pt x="11633596" y="6540754"/>
                </a:cubicBezTo>
                <a:lnTo>
                  <a:pt x="11633596" y="6526210"/>
                </a:lnTo>
                <a:cubicBezTo>
                  <a:pt x="11633596" y="6498800"/>
                  <a:pt x="11628908" y="6477710"/>
                  <a:pt x="11617662" y="6464525"/>
                </a:cubicBezTo>
                <a:cubicBezTo>
                  <a:pt x="11605814" y="6453034"/>
                  <a:pt x="11586070" y="6445912"/>
                  <a:pt x="11557511" y="6445912"/>
                </a:cubicBezTo>
                <a:close/>
                <a:moveTo>
                  <a:pt x="10550012" y="6445912"/>
                </a:moveTo>
                <a:cubicBezTo>
                  <a:pt x="10480812" y="6445912"/>
                  <a:pt x="10471479" y="6482096"/>
                  <a:pt x="10471479" y="6528988"/>
                </a:cubicBezTo>
                <a:cubicBezTo>
                  <a:pt x="10471479" y="6575563"/>
                  <a:pt x="10480812" y="6611496"/>
                  <a:pt x="10550012" y="6611496"/>
                </a:cubicBezTo>
                <a:cubicBezTo>
                  <a:pt x="10619263" y="6611496"/>
                  <a:pt x="10628579" y="6575571"/>
                  <a:pt x="10628579" y="6528988"/>
                </a:cubicBezTo>
                <a:cubicBezTo>
                  <a:pt x="10628579" y="6482096"/>
                  <a:pt x="10619263" y="6445912"/>
                  <a:pt x="10550012" y="6445912"/>
                </a:cubicBezTo>
                <a:close/>
                <a:moveTo>
                  <a:pt x="11272930" y="6445904"/>
                </a:moveTo>
                <a:cubicBezTo>
                  <a:pt x="11240001" y="6445912"/>
                  <a:pt x="11210565" y="6454669"/>
                  <a:pt x="11204841" y="6457112"/>
                </a:cubicBezTo>
                <a:cubicBezTo>
                  <a:pt x="11202919" y="6457988"/>
                  <a:pt x="11200981" y="6459047"/>
                  <a:pt x="11200981" y="6461240"/>
                </a:cubicBezTo>
                <a:lnTo>
                  <a:pt x="11200981" y="6462316"/>
                </a:lnTo>
                <a:cubicBezTo>
                  <a:pt x="11200981" y="6462583"/>
                  <a:pt x="11201265" y="6462875"/>
                  <a:pt x="11201265" y="6463158"/>
                </a:cubicBezTo>
                <a:lnTo>
                  <a:pt x="11206462" y="6485899"/>
                </a:lnTo>
                <a:cubicBezTo>
                  <a:pt x="11206746" y="6487534"/>
                  <a:pt x="11207832" y="6488109"/>
                  <a:pt x="11209244" y="6488109"/>
                </a:cubicBezTo>
                <a:cubicBezTo>
                  <a:pt x="11209788" y="6488109"/>
                  <a:pt x="11210565" y="6488109"/>
                  <a:pt x="11211442" y="6487826"/>
                </a:cubicBezTo>
                <a:cubicBezTo>
                  <a:pt x="11218026" y="6485907"/>
                  <a:pt x="11242190" y="6479620"/>
                  <a:pt x="11261149" y="6479620"/>
                </a:cubicBezTo>
                <a:cubicBezTo>
                  <a:pt x="11270482" y="6479620"/>
                  <a:pt x="11277626" y="6480429"/>
                  <a:pt x="11281436" y="6482330"/>
                </a:cubicBezTo>
                <a:cubicBezTo>
                  <a:pt x="11287243" y="6485107"/>
                  <a:pt x="11288053" y="6490027"/>
                  <a:pt x="11288053" y="6497974"/>
                </a:cubicBezTo>
                <a:lnTo>
                  <a:pt x="11288053" y="6504829"/>
                </a:lnTo>
                <a:lnTo>
                  <a:pt x="11236158" y="6513068"/>
                </a:lnTo>
                <a:cubicBezTo>
                  <a:pt x="11216397" y="6516054"/>
                  <a:pt x="11190829" y="6522100"/>
                  <a:pt x="11190829" y="6559626"/>
                </a:cubicBezTo>
                <a:cubicBezTo>
                  <a:pt x="11190829" y="6606284"/>
                  <a:pt x="11228161" y="6611488"/>
                  <a:pt x="11265510" y="6611488"/>
                </a:cubicBezTo>
                <a:cubicBezTo>
                  <a:pt x="11283399" y="6611488"/>
                  <a:pt x="11297695" y="6610379"/>
                  <a:pt x="11309727" y="6607661"/>
                </a:cubicBezTo>
                <a:cubicBezTo>
                  <a:pt x="11329522" y="6602982"/>
                  <a:pt x="11339732" y="6599138"/>
                  <a:pt x="11339732" y="6576096"/>
                </a:cubicBezTo>
                <a:lnTo>
                  <a:pt x="11339732" y="6493304"/>
                </a:lnTo>
                <a:cubicBezTo>
                  <a:pt x="11339732" y="6476309"/>
                  <a:pt x="11334468" y="6463150"/>
                  <a:pt x="11319904" y="6454936"/>
                </a:cubicBezTo>
                <a:cubicBezTo>
                  <a:pt x="11309218" y="6448906"/>
                  <a:pt x="11294128" y="6445904"/>
                  <a:pt x="11272930" y="6445904"/>
                </a:cubicBezTo>
                <a:close/>
                <a:moveTo>
                  <a:pt x="10723313" y="6380908"/>
                </a:moveTo>
                <a:cubicBezTo>
                  <a:pt x="10686833" y="6380908"/>
                  <a:pt x="10670080" y="6397370"/>
                  <a:pt x="10670080" y="6429993"/>
                </a:cubicBezTo>
                <a:lnTo>
                  <a:pt x="10670080" y="6449715"/>
                </a:lnTo>
                <a:lnTo>
                  <a:pt x="10646718" y="6449715"/>
                </a:lnTo>
                <a:cubicBezTo>
                  <a:pt x="10644521" y="6449715"/>
                  <a:pt x="10642858" y="6451350"/>
                  <a:pt x="10642858" y="6453560"/>
                </a:cubicBezTo>
                <a:lnTo>
                  <a:pt x="10642858" y="6481805"/>
                </a:lnTo>
                <a:cubicBezTo>
                  <a:pt x="10642858" y="6484015"/>
                  <a:pt x="10644529" y="6485658"/>
                  <a:pt x="10646718" y="6485658"/>
                </a:cubicBezTo>
                <a:lnTo>
                  <a:pt x="10670080" y="6485658"/>
                </a:lnTo>
                <a:lnTo>
                  <a:pt x="10670080" y="6603808"/>
                </a:lnTo>
                <a:cubicBezTo>
                  <a:pt x="10670080" y="6606001"/>
                  <a:pt x="10671718" y="6607661"/>
                  <a:pt x="10673915" y="6607661"/>
                </a:cubicBezTo>
                <a:lnTo>
                  <a:pt x="10718417" y="6607661"/>
                </a:lnTo>
                <a:cubicBezTo>
                  <a:pt x="10720598" y="6607661"/>
                  <a:pt x="10722252" y="6605993"/>
                  <a:pt x="10722252" y="6603808"/>
                </a:cubicBezTo>
                <a:lnTo>
                  <a:pt x="10722252" y="6485666"/>
                </a:lnTo>
                <a:lnTo>
                  <a:pt x="10793140" y="6485666"/>
                </a:lnTo>
                <a:lnTo>
                  <a:pt x="10793140" y="6559126"/>
                </a:lnTo>
                <a:cubicBezTo>
                  <a:pt x="10793140" y="6596686"/>
                  <a:pt x="10812090" y="6610112"/>
                  <a:pt x="10849456" y="6610112"/>
                </a:cubicBezTo>
                <a:cubicBezTo>
                  <a:pt x="10870554" y="6610112"/>
                  <a:pt x="10884599" y="6605718"/>
                  <a:pt x="10887875" y="6604608"/>
                </a:cubicBezTo>
                <a:cubicBezTo>
                  <a:pt x="10890883" y="6603516"/>
                  <a:pt x="10892011" y="6602148"/>
                  <a:pt x="10892011" y="6599688"/>
                </a:cubicBezTo>
                <a:cubicBezTo>
                  <a:pt x="10892011" y="6598596"/>
                  <a:pt x="10891760" y="6597228"/>
                  <a:pt x="10891760" y="6597228"/>
                </a:cubicBezTo>
                <a:lnTo>
                  <a:pt x="10887607" y="6575563"/>
                </a:lnTo>
                <a:cubicBezTo>
                  <a:pt x="10887064" y="6573086"/>
                  <a:pt x="10885970" y="6572277"/>
                  <a:pt x="10884315" y="6572277"/>
                </a:cubicBezTo>
                <a:cubicBezTo>
                  <a:pt x="10884065" y="6572277"/>
                  <a:pt x="10883204" y="6572277"/>
                  <a:pt x="10882134" y="6572527"/>
                </a:cubicBezTo>
                <a:cubicBezTo>
                  <a:pt x="10881850" y="6572527"/>
                  <a:pt x="10881291" y="6572811"/>
                  <a:pt x="10880747" y="6572811"/>
                </a:cubicBezTo>
                <a:cubicBezTo>
                  <a:pt x="10877155" y="6573353"/>
                  <a:pt x="10870830" y="6574162"/>
                  <a:pt x="10863435" y="6574162"/>
                </a:cubicBezTo>
                <a:cubicBezTo>
                  <a:pt x="10847484" y="6574162"/>
                  <a:pt x="10844752" y="6566782"/>
                  <a:pt x="10844752" y="6555799"/>
                </a:cubicBezTo>
                <a:lnTo>
                  <a:pt x="10844752" y="6485891"/>
                </a:lnTo>
                <a:lnTo>
                  <a:pt x="10923026" y="6485891"/>
                </a:lnTo>
                <a:lnTo>
                  <a:pt x="10923026" y="6588722"/>
                </a:lnTo>
                <a:cubicBezTo>
                  <a:pt x="10923026" y="6598829"/>
                  <a:pt x="10932376" y="6602132"/>
                  <a:pt x="10949404" y="6605985"/>
                </a:cubicBezTo>
                <a:cubicBezTo>
                  <a:pt x="10962573" y="6608711"/>
                  <a:pt x="10981790" y="6611730"/>
                  <a:pt x="10996388" y="6611730"/>
                </a:cubicBezTo>
                <a:cubicBezTo>
                  <a:pt x="11014494" y="6611730"/>
                  <a:pt x="11033169" y="6608428"/>
                  <a:pt x="11046938" y="6598004"/>
                </a:cubicBezTo>
                <a:cubicBezTo>
                  <a:pt x="11065538" y="6608720"/>
                  <a:pt x="11086201" y="6611730"/>
                  <a:pt x="11105661" y="6611730"/>
                </a:cubicBezTo>
                <a:cubicBezTo>
                  <a:pt x="11142467" y="6611730"/>
                  <a:pt x="11167483" y="6602974"/>
                  <a:pt x="11167483" y="6566215"/>
                </a:cubicBezTo>
                <a:lnTo>
                  <a:pt x="11167483" y="6453560"/>
                </a:lnTo>
                <a:cubicBezTo>
                  <a:pt x="11167483" y="6451350"/>
                  <a:pt x="11165829" y="6449715"/>
                  <a:pt x="11163665" y="6449715"/>
                </a:cubicBezTo>
                <a:lnTo>
                  <a:pt x="11119414" y="6449715"/>
                </a:lnTo>
                <a:cubicBezTo>
                  <a:pt x="11117233" y="6449715"/>
                  <a:pt x="11115562" y="6451350"/>
                  <a:pt x="11115562" y="6453560"/>
                </a:cubicBezTo>
                <a:lnTo>
                  <a:pt x="11115562" y="6558851"/>
                </a:lnTo>
                <a:cubicBezTo>
                  <a:pt x="11115562" y="6575021"/>
                  <a:pt x="11105652" y="6579941"/>
                  <a:pt x="11093061" y="6579941"/>
                </a:cubicBezTo>
                <a:cubicBezTo>
                  <a:pt x="11083168" y="6579941"/>
                  <a:pt x="11071328" y="6576897"/>
                  <a:pt x="11071328" y="6576897"/>
                </a:cubicBezTo>
                <a:lnTo>
                  <a:pt x="11071328" y="6453560"/>
                </a:lnTo>
                <a:cubicBezTo>
                  <a:pt x="11071328" y="6451350"/>
                  <a:pt x="11069690" y="6449715"/>
                  <a:pt x="11067493" y="6449715"/>
                </a:cubicBezTo>
                <a:lnTo>
                  <a:pt x="11023292" y="6449715"/>
                </a:lnTo>
                <a:cubicBezTo>
                  <a:pt x="11021111" y="6449715"/>
                  <a:pt x="11019440" y="6451350"/>
                  <a:pt x="11019440" y="6453560"/>
                </a:cubicBezTo>
                <a:lnTo>
                  <a:pt x="11019440" y="6558851"/>
                </a:lnTo>
                <a:cubicBezTo>
                  <a:pt x="11019440" y="6575021"/>
                  <a:pt x="11012839" y="6579941"/>
                  <a:pt x="11000757" y="6579941"/>
                </a:cubicBezTo>
                <a:cubicBezTo>
                  <a:pt x="10990021" y="6579941"/>
                  <a:pt x="10974939" y="6577197"/>
                  <a:pt x="10974939" y="6577197"/>
                </a:cubicBezTo>
                <a:lnTo>
                  <a:pt x="10974939" y="6453560"/>
                </a:lnTo>
                <a:cubicBezTo>
                  <a:pt x="10974939" y="6451350"/>
                  <a:pt x="10973268" y="6449715"/>
                  <a:pt x="10971120" y="6449715"/>
                </a:cubicBezTo>
                <a:lnTo>
                  <a:pt x="10844743" y="6449715"/>
                </a:lnTo>
                <a:lnTo>
                  <a:pt x="10844743" y="6400922"/>
                </a:lnTo>
                <a:cubicBezTo>
                  <a:pt x="10844743" y="6397370"/>
                  <a:pt x="10842838" y="6395735"/>
                  <a:pt x="10839797" y="6395735"/>
                </a:cubicBezTo>
                <a:cubicBezTo>
                  <a:pt x="10839287" y="6395735"/>
                  <a:pt x="10837892" y="6395986"/>
                  <a:pt x="10836522" y="6396277"/>
                </a:cubicBezTo>
                <a:lnTo>
                  <a:pt x="10798580" y="6402866"/>
                </a:lnTo>
                <a:cubicBezTo>
                  <a:pt x="10795020" y="6403674"/>
                  <a:pt x="10793123" y="6406151"/>
                  <a:pt x="10793123" y="6410529"/>
                </a:cubicBezTo>
                <a:lnTo>
                  <a:pt x="10793123" y="6449724"/>
                </a:lnTo>
                <a:lnTo>
                  <a:pt x="10722244" y="6449724"/>
                </a:lnTo>
                <a:lnTo>
                  <a:pt x="10722244" y="6432470"/>
                </a:lnTo>
                <a:cubicBezTo>
                  <a:pt x="10722244" y="6426741"/>
                  <a:pt x="10723088" y="6422888"/>
                  <a:pt x="10726087" y="6420119"/>
                </a:cubicBezTo>
                <a:cubicBezTo>
                  <a:pt x="10729429" y="6417376"/>
                  <a:pt x="10733499" y="6416583"/>
                  <a:pt x="10740668" y="6416583"/>
                </a:cubicBezTo>
                <a:cubicBezTo>
                  <a:pt x="10745313" y="6416583"/>
                  <a:pt x="10752181" y="6417376"/>
                  <a:pt x="10755758" y="6417934"/>
                </a:cubicBezTo>
                <a:cubicBezTo>
                  <a:pt x="10756301" y="6417934"/>
                  <a:pt x="10756869" y="6418201"/>
                  <a:pt x="10757680" y="6418201"/>
                </a:cubicBezTo>
                <a:cubicBezTo>
                  <a:pt x="10759066" y="6418468"/>
                  <a:pt x="10760713" y="6418760"/>
                  <a:pt x="10761498" y="6418760"/>
                </a:cubicBezTo>
                <a:cubicBezTo>
                  <a:pt x="10763470" y="6418760"/>
                  <a:pt x="10764029" y="6417376"/>
                  <a:pt x="10764247" y="6414916"/>
                </a:cubicBezTo>
                <a:lnTo>
                  <a:pt x="10767589" y="6392983"/>
                </a:lnTo>
                <a:cubicBezTo>
                  <a:pt x="10767589" y="6392983"/>
                  <a:pt x="10767840" y="6391332"/>
                  <a:pt x="10767840" y="6390524"/>
                </a:cubicBezTo>
                <a:cubicBezTo>
                  <a:pt x="10767840" y="6388347"/>
                  <a:pt x="10767029" y="6386954"/>
                  <a:pt x="10764815" y="6386128"/>
                </a:cubicBezTo>
                <a:cubicBezTo>
                  <a:pt x="10760955" y="6385053"/>
                  <a:pt x="10746709" y="6380908"/>
                  <a:pt x="10723313" y="6380908"/>
                </a:cubicBezTo>
                <a:close/>
                <a:moveTo>
                  <a:pt x="10171834" y="6345000"/>
                </a:moveTo>
                <a:cubicBezTo>
                  <a:pt x="10110856" y="6345000"/>
                  <a:pt x="10070465" y="6389974"/>
                  <a:pt x="10070465" y="6451084"/>
                </a:cubicBezTo>
                <a:lnTo>
                  <a:pt x="10070465" y="6508391"/>
                </a:lnTo>
                <a:lnTo>
                  <a:pt x="10133382" y="6508391"/>
                </a:lnTo>
                <a:lnTo>
                  <a:pt x="10133382" y="6455771"/>
                </a:lnTo>
                <a:cubicBezTo>
                  <a:pt x="10133382" y="6422889"/>
                  <a:pt x="10147135" y="6407244"/>
                  <a:pt x="10177892" y="6407244"/>
                </a:cubicBezTo>
                <a:lnTo>
                  <a:pt x="10200118" y="6407244"/>
                </a:lnTo>
                <a:lnTo>
                  <a:pt x="10206735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</p:spTree>
    <p:extLst>
      <p:ext uri="{BB962C8B-B14F-4D97-AF65-F5344CB8AC3E}">
        <p14:creationId xmlns:p14="http://schemas.microsoft.com/office/powerpoint/2010/main" val="112580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 userDrawn="1">
          <p15:clr>
            <a:srgbClr val="FFFF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E5D15C-6938-4C93-960A-E5308FDB9255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92E973D3-49F4-4400-8A06-65A9139C835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11298788 w 12191998"/>
              <a:gd name="connsiteY0" fmla="*/ 6533358 h 6858000"/>
              <a:gd name="connsiteX1" fmla="*/ 11298788 w 12191998"/>
              <a:gd name="connsiteY1" fmla="*/ 6577748 h 6858000"/>
              <a:gd name="connsiteX2" fmla="*/ 11277098 w 12191998"/>
              <a:gd name="connsiteY2" fmla="*/ 6580508 h 6858000"/>
              <a:gd name="connsiteX3" fmla="*/ 11251296 w 12191998"/>
              <a:gd name="connsiteY3" fmla="*/ 6559126 h 6858000"/>
              <a:gd name="connsiteX4" fmla="*/ 11271583 w 12191998"/>
              <a:gd name="connsiteY4" fmla="*/ 6537753 h 6858000"/>
              <a:gd name="connsiteX5" fmla="*/ 10560747 w 12191998"/>
              <a:gd name="connsiteY5" fmla="*/ 6479619 h 6858000"/>
              <a:gd name="connsiteX6" fmla="*/ 10586349 w 12191998"/>
              <a:gd name="connsiteY6" fmla="*/ 6528988 h 6858000"/>
              <a:gd name="connsiteX7" fmla="*/ 10560747 w 12191998"/>
              <a:gd name="connsiteY7" fmla="*/ 6577739 h 6858000"/>
              <a:gd name="connsiteX8" fmla="*/ 10535246 w 12191998"/>
              <a:gd name="connsiteY8" fmla="*/ 6528988 h 6858000"/>
              <a:gd name="connsiteX9" fmla="*/ 10560747 w 12191998"/>
              <a:gd name="connsiteY9" fmla="*/ 6479619 h 6858000"/>
              <a:gd name="connsiteX10" fmla="*/ 11568237 w 12191998"/>
              <a:gd name="connsiteY10" fmla="*/ 6479077 h 6858000"/>
              <a:gd name="connsiteX11" fmla="*/ 11592661 w 12191998"/>
              <a:gd name="connsiteY11" fmla="*/ 6494421 h 6858000"/>
              <a:gd name="connsiteX12" fmla="*/ 11594332 w 12191998"/>
              <a:gd name="connsiteY12" fmla="*/ 6515511 h 6858000"/>
              <a:gd name="connsiteX13" fmla="*/ 11594332 w 12191998"/>
              <a:gd name="connsiteY13" fmla="*/ 6519889 h 6858000"/>
              <a:gd name="connsiteX14" fmla="*/ 11542987 w 12191998"/>
              <a:gd name="connsiteY14" fmla="*/ 6519889 h 6858000"/>
              <a:gd name="connsiteX15" fmla="*/ 11542987 w 12191998"/>
              <a:gd name="connsiteY15" fmla="*/ 6517179 h 6858000"/>
              <a:gd name="connsiteX16" fmla="*/ 11544357 w 12191998"/>
              <a:gd name="connsiteY16" fmla="*/ 6496340 h 6858000"/>
              <a:gd name="connsiteX17" fmla="*/ 11568237 w 12191998"/>
              <a:gd name="connsiteY17" fmla="*/ 6479077 h 6858000"/>
              <a:gd name="connsiteX18" fmla="*/ 11720656 w 12191998"/>
              <a:gd name="connsiteY18" fmla="*/ 6460415 h 6858000"/>
              <a:gd name="connsiteX19" fmla="*/ 11725886 w 12191998"/>
              <a:gd name="connsiteY19" fmla="*/ 6460415 h 6858000"/>
              <a:gd name="connsiteX20" fmla="*/ 11733582 w 12191998"/>
              <a:gd name="connsiteY20" fmla="*/ 6487000 h 6858000"/>
              <a:gd name="connsiteX21" fmla="*/ 11712977 w 12191998"/>
              <a:gd name="connsiteY21" fmla="*/ 6487000 h 6858000"/>
              <a:gd name="connsiteX22" fmla="*/ 11710245 w 12191998"/>
              <a:gd name="connsiteY22" fmla="*/ 6450024 h 6858000"/>
              <a:gd name="connsiteX23" fmla="*/ 11709167 w 12191998"/>
              <a:gd name="connsiteY23" fmla="*/ 6450850 h 6858000"/>
              <a:gd name="connsiteX24" fmla="*/ 11687317 w 12191998"/>
              <a:gd name="connsiteY24" fmla="*/ 6515787 h 6858000"/>
              <a:gd name="connsiteX25" fmla="*/ 11687033 w 12191998"/>
              <a:gd name="connsiteY25" fmla="*/ 6516896 h 6858000"/>
              <a:gd name="connsiteX26" fmla="*/ 11687827 w 12191998"/>
              <a:gd name="connsiteY26" fmla="*/ 6517455 h 6858000"/>
              <a:gd name="connsiteX27" fmla="*/ 11703886 w 12191998"/>
              <a:gd name="connsiteY27" fmla="*/ 6517455 h 6858000"/>
              <a:gd name="connsiteX28" fmla="*/ 11705014 w 12191998"/>
              <a:gd name="connsiteY28" fmla="*/ 6516329 h 6858000"/>
              <a:gd name="connsiteX29" fmla="*/ 11709977 w 12191998"/>
              <a:gd name="connsiteY29" fmla="*/ 6497716 h 6858000"/>
              <a:gd name="connsiteX30" fmla="*/ 11736581 w 12191998"/>
              <a:gd name="connsiteY30" fmla="*/ 6497716 h 6858000"/>
              <a:gd name="connsiteX31" fmla="*/ 11741528 w 12191998"/>
              <a:gd name="connsiteY31" fmla="*/ 6516329 h 6858000"/>
              <a:gd name="connsiteX32" fmla="*/ 11742656 w 12191998"/>
              <a:gd name="connsiteY32" fmla="*/ 6517455 h 6858000"/>
              <a:gd name="connsiteX33" fmla="*/ 11757763 w 12191998"/>
              <a:gd name="connsiteY33" fmla="*/ 6517455 h 6858000"/>
              <a:gd name="connsiteX34" fmla="*/ 11758573 w 12191998"/>
              <a:gd name="connsiteY34" fmla="*/ 6516896 h 6858000"/>
              <a:gd name="connsiteX35" fmla="*/ 11758272 w 12191998"/>
              <a:gd name="connsiteY35" fmla="*/ 6515787 h 6858000"/>
              <a:gd name="connsiteX36" fmla="*/ 11737442 w 12191998"/>
              <a:gd name="connsiteY36" fmla="*/ 6450850 h 6858000"/>
              <a:gd name="connsiteX37" fmla="*/ 11736314 w 12191998"/>
              <a:gd name="connsiteY37" fmla="*/ 6450024 h 6858000"/>
              <a:gd name="connsiteX38" fmla="*/ 10188067 w 12191998"/>
              <a:gd name="connsiteY38" fmla="*/ 6449732 h 6858000"/>
              <a:gd name="connsiteX39" fmla="*/ 10188067 w 12191998"/>
              <a:gd name="connsiteY39" fmla="*/ 6496048 h 6858000"/>
              <a:gd name="connsiteX40" fmla="*/ 10143574 w 12191998"/>
              <a:gd name="connsiteY40" fmla="*/ 6547343 h 6858000"/>
              <a:gd name="connsiteX41" fmla="*/ 10120796 w 12191998"/>
              <a:gd name="connsiteY41" fmla="*/ 6547343 h 6858000"/>
              <a:gd name="connsiteX42" fmla="*/ 10114179 w 12191998"/>
              <a:gd name="connsiteY42" fmla="*/ 6609537 h 6858000"/>
              <a:gd name="connsiteX43" fmla="*/ 10146874 w 12191998"/>
              <a:gd name="connsiteY43" fmla="*/ 6609537 h 6858000"/>
              <a:gd name="connsiteX44" fmla="*/ 10250959 w 12191998"/>
              <a:gd name="connsiteY44" fmla="*/ 6500735 h 6858000"/>
              <a:gd name="connsiteX45" fmla="*/ 10250959 w 12191998"/>
              <a:gd name="connsiteY45" fmla="*/ 6449732 h 6858000"/>
              <a:gd name="connsiteX46" fmla="*/ 11804146 w 12191998"/>
              <a:gd name="connsiteY46" fmla="*/ 6448589 h 6858000"/>
              <a:gd name="connsiteX47" fmla="*/ 11769822 w 12191998"/>
              <a:gd name="connsiteY47" fmla="*/ 6483747 h 6858000"/>
              <a:gd name="connsiteX48" fmla="*/ 11805809 w 12191998"/>
              <a:gd name="connsiteY48" fmla="*/ 6518563 h 6858000"/>
              <a:gd name="connsiteX49" fmla="*/ 11825035 w 12191998"/>
              <a:gd name="connsiteY49" fmla="*/ 6516645 h 6858000"/>
              <a:gd name="connsiteX50" fmla="*/ 11824792 w 12191998"/>
              <a:gd name="connsiteY50" fmla="*/ 6516645 h 6858000"/>
              <a:gd name="connsiteX51" fmla="*/ 11830800 w 12191998"/>
              <a:gd name="connsiteY51" fmla="*/ 6508698 h 6858000"/>
              <a:gd name="connsiteX52" fmla="*/ 11830800 w 12191998"/>
              <a:gd name="connsiteY52" fmla="*/ 6480678 h 6858000"/>
              <a:gd name="connsiteX53" fmla="*/ 11829730 w 12191998"/>
              <a:gd name="connsiteY53" fmla="*/ 6479619 h 6858000"/>
              <a:gd name="connsiteX54" fmla="*/ 11804146 w 12191998"/>
              <a:gd name="connsiteY54" fmla="*/ 6479619 h 6858000"/>
              <a:gd name="connsiteX55" fmla="*/ 11803068 w 12191998"/>
              <a:gd name="connsiteY55" fmla="*/ 6480678 h 6858000"/>
              <a:gd name="connsiteX56" fmla="*/ 11803068 w 12191998"/>
              <a:gd name="connsiteY56" fmla="*/ 6488917 h 6858000"/>
              <a:gd name="connsiteX57" fmla="*/ 11804146 w 12191998"/>
              <a:gd name="connsiteY57" fmla="*/ 6490310 h 6858000"/>
              <a:gd name="connsiteX58" fmla="*/ 11815134 w 12191998"/>
              <a:gd name="connsiteY58" fmla="*/ 6491403 h 6858000"/>
              <a:gd name="connsiteX59" fmla="*/ 11815134 w 12191998"/>
              <a:gd name="connsiteY59" fmla="*/ 6507572 h 6858000"/>
              <a:gd name="connsiteX60" fmla="*/ 11806327 w 12191998"/>
              <a:gd name="connsiteY60" fmla="*/ 6507856 h 6858000"/>
              <a:gd name="connsiteX61" fmla="*/ 11786575 w 12191998"/>
              <a:gd name="connsiteY61" fmla="*/ 6484273 h 6858000"/>
              <a:gd name="connsiteX62" fmla="*/ 11808249 w 12191998"/>
              <a:gd name="connsiteY62" fmla="*/ 6460147 h 6858000"/>
              <a:gd name="connsiteX63" fmla="*/ 11824784 w 12191998"/>
              <a:gd name="connsiteY63" fmla="*/ 6462049 h 6858000"/>
              <a:gd name="connsiteX64" fmla="*/ 11826138 w 12191998"/>
              <a:gd name="connsiteY64" fmla="*/ 6462299 h 6858000"/>
              <a:gd name="connsiteX65" fmla="*/ 11828335 w 12191998"/>
              <a:gd name="connsiteY65" fmla="*/ 6462566 h 6858000"/>
              <a:gd name="connsiteX66" fmla="*/ 11829730 w 12191998"/>
              <a:gd name="connsiteY66" fmla="*/ 6460689 h 6858000"/>
              <a:gd name="connsiteX67" fmla="*/ 11830508 w 12191998"/>
              <a:gd name="connsiteY67" fmla="*/ 6456278 h 6858000"/>
              <a:gd name="connsiteX68" fmla="*/ 11830792 w 12191998"/>
              <a:gd name="connsiteY68" fmla="*/ 6454101 h 6858000"/>
              <a:gd name="connsiteX69" fmla="*/ 11829396 w 12191998"/>
              <a:gd name="connsiteY69" fmla="*/ 6452434 h 6858000"/>
              <a:gd name="connsiteX70" fmla="*/ 11804146 w 12191998"/>
              <a:gd name="connsiteY70" fmla="*/ 6448589 h 6858000"/>
              <a:gd name="connsiteX71" fmla="*/ 11468798 w 12191998"/>
              <a:gd name="connsiteY71" fmla="*/ 6446454 h 6858000"/>
              <a:gd name="connsiteX72" fmla="*/ 11414988 w 12191998"/>
              <a:gd name="connsiteY72" fmla="*/ 6451917 h 6858000"/>
              <a:gd name="connsiteX73" fmla="*/ 11388050 w 12191998"/>
              <a:gd name="connsiteY73" fmla="*/ 6469487 h 6858000"/>
              <a:gd name="connsiteX74" fmla="*/ 11388050 w 12191998"/>
              <a:gd name="connsiteY74" fmla="*/ 6603823 h 6858000"/>
              <a:gd name="connsiteX75" fmla="*/ 11391919 w 12191998"/>
              <a:gd name="connsiteY75" fmla="*/ 6607676 h 6858000"/>
              <a:gd name="connsiteX76" fmla="*/ 11436086 w 12191998"/>
              <a:gd name="connsiteY76" fmla="*/ 6607676 h 6858000"/>
              <a:gd name="connsiteX77" fmla="*/ 11439963 w 12191998"/>
              <a:gd name="connsiteY77" fmla="*/ 6603823 h 6858000"/>
              <a:gd name="connsiteX78" fmla="*/ 11439963 w 12191998"/>
              <a:gd name="connsiteY78" fmla="*/ 6485899 h 6858000"/>
              <a:gd name="connsiteX79" fmla="*/ 11474847 w 12191998"/>
              <a:gd name="connsiteY79" fmla="*/ 6483455 h 6858000"/>
              <a:gd name="connsiteX80" fmla="*/ 11480345 w 12191998"/>
              <a:gd name="connsiteY80" fmla="*/ 6477109 h 6858000"/>
              <a:gd name="connsiteX81" fmla="*/ 11480345 w 12191998"/>
              <a:gd name="connsiteY81" fmla="*/ 6452750 h 6858000"/>
              <a:gd name="connsiteX82" fmla="*/ 11474003 w 12191998"/>
              <a:gd name="connsiteY82" fmla="*/ 6446454 h 6858000"/>
              <a:gd name="connsiteX83" fmla="*/ 10401190 w 12191998"/>
              <a:gd name="connsiteY83" fmla="*/ 6445921 h 6858000"/>
              <a:gd name="connsiteX84" fmla="*/ 10335023 w 12191998"/>
              <a:gd name="connsiteY84" fmla="*/ 6496039 h 6858000"/>
              <a:gd name="connsiteX85" fmla="*/ 10382516 w 12191998"/>
              <a:gd name="connsiteY85" fmla="*/ 6545666 h 6858000"/>
              <a:gd name="connsiteX86" fmla="*/ 10385549 w 12191998"/>
              <a:gd name="connsiteY86" fmla="*/ 6546191 h 6858000"/>
              <a:gd name="connsiteX87" fmla="*/ 10406153 w 12191998"/>
              <a:gd name="connsiteY87" fmla="*/ 6563203 h 6858000"/>
              <a:gd name="connsiteX88" fmla="*/ 10384972 w 12191998"/>
              <a:gd name="connsiteY88" fmla="*/ 6578581 h 6858000"/>
              <a:gd name="connsiteX89" fmla="*/ 10343504 w 12191998"/>
              <a:gd name="connsiteY89" fmla="*/ 6572285 h 6858000"/>
              <a:gd name="connsiteX90" fmla="*/ 10343771 w 12191998"/>
              <a:gd name="connsiteY90" fmla="*/ 6572285 h 6858000"/>
              <a:gd name="connsiteX91" fmla="*/ 10342961 w 12191998"/>
              <a:gd name="connsiteY91" fmla="*/ 6572034 h 6858000"/>
              <a:gd name="connsiteX92" fmla="*/ 10339936 w 12191998"/>
              <a:gd name="connsiteY92" fmla="*/ 6571459 h 6858000"/>
              <a:gd name="connsiteX93" fmla="*/ 10336886 w 12191998"/>
              <a:gd name="connsiteY93" fmla="*/ 6575304 h 6858000"/>
              <a:gd name="connsiteX94" fmla="*/ 10333628 w 12191998"/>
              <a:gd name="connsiteY94" fmla="*/ 6594759 h 6858000"/>
              <a:gd name="connsiteX95" fmla="*/ 10333068 w 12191998"/>
              <a:gd name="connsiteY95" fmla="*/ 6598854 h 6858000"/>
              <a:gd name="connsiteX96" fmla="*/ 10336076 w 12191998"/>
              <a:gd name="connsiteY96" fmla="*/ 6602698 h 6858000"/>
              <a:gd name="connsiteX97" fmla="*/ 10392408 w 12191998"/>
              <a:gd name="connsiteY97" fmla="*/ 6611237 h 6858000"/>
              <a:gd name="connsiteX98" fmla="*/ 10458567 w 12191998"/>
              <a:gd name="connsiteY98" fmla="*/ 6558867 h 6858000"/>
              <a:gd name="connsiteX99" fmla="*/ 10414935 w 12191998"/>
              <a:gd name="connsiteY99" fmla="*/ 6510324 h 6858000"/>
              <a:gd name="connsiteX100" fmla="*/ 10410481 w 12191998"/>
              <a:gd name="connsiteY100" fmla="*/ 6509516 h 6858000"/>
              <a:gd name="connsiteX101" fmla="*/ 10387429 w 12191998"/>
              <a:gd name="connsiteY101" fmla="*/ 6492487 h 6858000"/>
              <a:gd name="connsiteX102" fmla="*/ 10409437 w 12191998"/>
              <a:gd name="connsiteY102" fmla="*/ 6478285 h 6858000"/>
              <a:gd name="connsiteX103" fmla="*/ 10440202 w 12191998"/>
              <a:gd name="connsiteY103" fmla="*/ 6481821 h 6858000"/>
              <a:gd name="connsiteX104" fmla="*/ 10445674 w 12191998"/>
              <a:gd name="connsiteY104" fmla="*/ 6482663 h 6858000"/>
              <a:gd name="connsiteX105" fmla="*/ 10449526 w 12191998"/>
              <a:gd name="connsiteY105" fmla="*/ 6479903 h 6858000"/>
              <a:gd name="connsiteX106" fmla="*/ 10453378 w 12191998"/>
              <a:gd name="connsiteY106" fmla="*/ 6459872 h 6858000"/>
              <a:gd name="connsiteX107" fmla="*/ 10453646 w 12191998"/>
              <a:gd name="connsiteY107" fmla="*/ 6457696 h 6858000"/>
              <a:gd name="connsiteX108" fmla="*/ 10447889 w 12191998"/>
              <a:gd name="connsiteY108" fmla="*/ 6451916 h 6858000"/>
              <a:gd name="connsiteX109" fmla="*/ 10401190 w 12191998"/>
              <a:gd name="connsiteY109" fmla="*/ 6445921 h 6858000"/>
              <a:gd name="connsiteX110" fmla="*/ 11568246 w 12191998"/>
              <a:gd name="connsiteY110" fmla="*/ 6445912 h 6858000"/>
              <a:gd name="connsiteX111" fmla="*/ 11489963 w 12191998"/>
              <a:gd name="connsiteY111" fmla="*/ 6529780 h 6858000"/>
              <a:gd name="connsiteX112" fmla="*/ 11576752 w 12191998"/>
              <a:gd name="connsiteY112" fmla="*/ 6611495 h 6858000"/>
              <a:gd name="connsiteX113" fmla="*/ 11633068 w 12191998"/>
              <a:gd name="connsiteY113" fmla="*/ 6601597 h 6858000"/>
              <a:gd name="connsiteX114" fmla="*/ 11637187 w 12191998"/>
              <a:gd name="connsiteY114" fmla="*/ 6596410 h 6858000"/>
              <a:gd name="connsiteX115" fmla="*/ 11636936 w 12191998"/>
              <a:gd name="connsiteY115" fmla="*/ 6594200 h 6858000"/>
              <a:gd name="connsiteX116" fmla="*/ 11632533 w 12191998"/>
              <a:gd name="connsiteY116" fmla="*/ 6576112 h 6858000"/>
              <a:gd name="connsiteX117" fmla="*/ 11632533 w 12191998"/>
              <a:gd name="connsiteY117" fmla="*/ 6576379 h 6858000"/>
              <a:gd name="connsiteX118" fmla="*/ 11627570 w 12191998"/>
              <a:gd name="connsiteY118" fmla="*/ 6571726 h 6858000"/>
              <a:gd name="connsiteX119" fmla="*/ 11623994 w 12191998"/>
              <a:gd name="connsiteY119" fmla="*/ 6572284 h 6858000"/>
              <a:gd name="connsiteX120" fmla="*/ 11624278 w 12191998"/>
              <a:gd name="connsiteY120" fmla="*/ 6572284 h 6858000"/>
              <a:gd name="connsiteX121" fmla="*/ 11586085 w 12191998"/>
              <a:gd name="connsiteY121" fmla="*/ 6578580 h 6858000"/>
              <a:gd name="connsiteX122" fmla="*/ 11556398 w 12191998"/>
              <a:gd name="connsiteY122" fmla="*/ 6573886 h 6858000"/>
              <a:gd name="connsiteX123" fmla="*/ 11543505 w 12191998"/>
              <a:gd name="connsiteY123" fmla="*/ 6549260 h 6858000"/>
              <a:gd name="connsiteX124" fmla="*/ 11636936 w 12191998"/>
              <a:gd name="connsiteY124" fmla="*/ 6549260 h 6858000"/>
              <a:gd name="connsiteX125" fmla="*/ 11644331 w 12191998"/>
              <a:gd name="connsiteY125" fmla="*/ 6540754 h 6858000"/>
              <a:gd name="connsiteX126" fmla="*/ 11644331 w 12191998"/>
              <a:gd name="connsiteY126" fmla="*/ 6526210 h 6858000"/>
              <a:gd name="connsiteX127" fmla="*/ 11628397 w 12191998"/>
              <a:gd name="connsiteY127" fmla="*/ 6464525 h 6858000"/>
              <a:gd name="connsiteX128" fmla="*/ 11568246 w 12191998"/>
              <a:gd name="connsiteY128" fmla="*/ 6445912 h 6858000"/>
              <a:gd name="connsiteX129" fmla="*/ 10560747 w 12191998"/>
              <a:gd name="connsiteY129" fmla="*/ 6445912 h 6858000"/>
              <a:gd name="connsiteX130" fmla="*/ 10482214 w 12191998"/>
              <a:gd name="connsiteY130" fmla="*/ 6528988 h 6858000"/>
              <a:gd name="connsiteX131" fmla="*/ 10560747 w 12191998"/>
              <a:gd name="connsiteY131" fmla="*/ 6611496 h 6858000"/>
              <a:gd name="connsiteX132" fmla="*/ 10639314 w 12191998"/>
              <a:gd name="connsiteY132" fmla="*/ 6528988 h 6858000"/>
              <a:gd name="connsiteX133" fmla="*/ 10560747 w 12191998"/>
              <a:gd name="connsiteY133" fmla="*/ 6445912 h 6858000"/>
              <a:gd name="connsiteX134" fmla="*/ 11283665 w 12191998"/>
              <a:gd name="connsiteY134" fmla="*/ 6445904 h 6858000"/>
              <a:gd name="connsiteX135" fmla="*/ 11215576 w 12191998"/>
              <a:gd name="connsiteY135" fmla="*/ 6457112 h 6858000"/>
              <a:gd name="connsiteX136" fmla="*/ 11211716 w 12191998"/>
              <a:gd name="connsiteY136" fmla="*/ 6461240 h 6858000"/>
              <a:gd name="connsiteX137" fmla="*/ 11211716 w 12191998"/>
              <a:gd name="connsiteY137" fmla="*/ 6462316 h 6858000"/>
              <a:gd name="connsiteX138" fmla="*/ 11212000 w 12191998"/>
              <a:gd name="connsiteY138" fmla="*/ 6463158 h 6858000"/>
              <a:gd name="connsiteX139" fmla="*/ 11217197 w 12191998"/>
              <a:gd name="connsiteY139" fmla="*/ 6485899 h 6858000"/>
              <a:gd name="connsiteX140" fmla="*/ 11219979 w 12191998"/>
              <a:gd name="connsiteY140" fmla="*/ 6488109 h 6858000"/>
              <a:gd name="connsiteX141" fmla="*/ 11222177 w 12191998"/>
              <a:gd name="connsiteY141" fmla="*/ 6487826 h 6858000"/>
              <a:gd name="connsiteX142" fmla="*/ 11271884 w 12191998"/>
              <a:gd name="connsiteY142" fmla="*/ 6479620 h 6858000"/>
              <a:gd name="connsiteX143" fmla="*/ 11292171 w 12191998"/>
              <a:gd name="connsiteY143" fmla="*/ 6482330 h 6858000"/>
              <a:gd name="connsiteX144" fmla="*/ 11298788 w 12191998"/>
              <a:gd name="connsiteY144" fmla="*/ 6497974 h 6858000"/>
              <a:gd name="connsiteX145" fmla="*/ 11298788 w 12191998"/>
              <a:gd name="connsiteY145" fmla="*/ 6504829 h 6858000"/>
              <a:gd name="connsiteX146" fmla="*/ 11246893 w 12191998"/>
              <a:gd name="connsiteY146" fmla="*/ 6513068 h 6858000"/>
              <a:gd name="connsiteX147" fmla="*/ 11201564 w 12191998"/>
              <a:gd name="connsiteY147" fmla="*/ 6559626 h 6858000"/>
              <a:gd name="connsiteX148" fmla="*/ 11276245 w 12191998"/>
              <a:gd name="connsiteY148" fmla="*/ 6611488 h 6858000"/>
              <a:gd name="connsiteX149" fmla="*/ 11320462 w 12191998"/>
              <a:gd name="connsiteY149" fmla="*/ 6607661 h 6858000"/>
              <a:gd name="connsiteX150" fmla="*/ 11350467 w 12191998"/>
              <a:gd name="connsiteY150" fmla="*/ 6576096 h 6858000"/>
              <a:gd name="connsiteX151" fmla="*/ 11350467 w 12191998"/>
              <a:gd name="connsiteY151" fmla="*/ 6493304 h 6858000"/>
              <a:gd name="connsiteX152" fmla="*/ 11330639 w 12191998"/>
              <a:gd name="connsiteY152" fmla="*/ 6454936 h 6858000"/>
              <a:gd name="connsiteX153" fmla="*/ 11283665 w 12191998"/>
              <a:gd name="connsiteY153" fmla="*/ 6445904 h 6858000"/>
              <a:gd name="connsiteX154" fmla="*/ 10734048 w 12191998"/>
              <a:gd name="connsiteY154" fmla="*/ 6380908 h 6858000"/>
              <a:gd name="connsiteX155" fmla="*/ 10680815 w 12191998"/>
              <a:gd name="connsiteY155" fmla="*/ 6429993 h 6858000"/>
              <a:gd name="connsiteX156" fmla="*/ 10680815 w 12191998"/>
              <a:gd name="connsiteY156" fmla="*/ 6449715 h 6858000"/>
              <a:gd name="connsiteX157" fmla="*/ 10657453 w 12191998"/>
              <a:gd name="connsiteY157" fmla="*/ 6449715 h 6858000"/>
              <a:gd name="connsiteX158" fmla="*/ 10653593 w 12191998"/>
              <a:gd name="connsiteY158" fmla="*/ 6453560 h 6858000"/>
              <a:gd name="connsiteX159" fmla="*/ 10653593 w 12191998"/>
              <a:gd name="connsiteY159" fmla="*/ 6481805 h 6858000"/>
              <a:gd name="connsiteX160" fmla="*/ 10657453 w 12191998"/>
              <a:gd name="connsiteY160" fmla="*/ 6485658 h 6858000"/>
              <a:gd name="connsiteX161" fmla="*/ 10680815 w 12191998"/>
              <a:gd name="connsiteY161" fmla="*/ 6485658 h 6858000"/>
              <a:gd name="connsiteX162" fmla="*/ 10680815 w 12191998"/>
              <a:gd name="connsiteY162" fmla="*/ 6603808 h 6858000"/>
              <a:gd name="connsiteX163" fmla="*/ 10684650 w 12191998"/>
              <a:gd name="connsiteY163" fmla="*/ 6607661 h 6858000"/>
              <a:gd name="connsiteX164" fmla="*/ 10729152 w 12191998"/>
              <a:gd name="connsiteY164" fmla="*/ 6607661 h 6858000"/>
              <a:gd name="connsiteX165" fmla="*/ 10732987 w 12191998"/>
              <a:gd name="connsiteY165" fmla="*/ 6603808 h 6858000"/>
              <a:gd name="connsiteX166" fmla="*/ 10732987 w 12191998"/>
              <a:gd name="connsiteY166" fmla="*/ 6485666 h 6858000"/>
              <a:gd name="connsiteX167" fmla="*/ 10803875 w 12191998"/>
              <a:gd name="connsiteY167" fmla="*/ 6485666 h 6858000"/>
              <a:gd name="connsiteX168" fmla="*/ 10803875 w 12191998"/>
              <a:gd name="connsiteY168" fmla="*/ 6559126 h 6858000"/>
              <a:gd name="connsiteX169" fmla="*/ 10860191 w 12191998"/>
              <a:gd name="connsiteY169" fmla="*/ 6610112 h 6858000"/>
              <a:gd name="connsiteX170" fmla="*/ 10898610 w 12191998"/>
              <a:gd name="connsiteY170" fmla="*/ 6604608 h 6858000"/>
              <a:gd name="connsiteX171" fmla="*/ 10902746 w 12191998"/>
              <a:gd name="connsiteY171" fmla="*/ 6599688 h 6858000"/>
              <a:gd name="connsiteX172" fmla="*/ 10902495 w 12191998"/>
              <a:gd name="connsiteY172" fmla="*/ 6597228 h 6858000"/>
              <a:gd name="connsiteX173" fmla="*/ 10898342 w 12191998"/>
              <a:gd name="connsiteY173" fmla="*/ 6575563 h 6858000"/>
              <a:gd name="connsiteX174" fmla="*/ 10895050 w 12191998"/>
              <a:gd name="connsiteY174" fmla="*/ 6572277 h 6858000"/>
              <a:gd name="connsiteX175" fmla="*/ 10892869 w 12191998"/>
              <a:gd name="connsiteY175" fmla="*/ 6572527 h 6858000"/>
              <a:gd name="connsiteX176" fmla="*/ 10891482 w 12191998"/>
              <a:gd name="connsiteY176" fmla="*/ 6572811 h 6858000"/>
              <a:gd name="connsiteX177" fmla="*/ 10874170 w 12191998"/>
              <a:gd name="connsiteY177" fmla="*/ 6574162 h 6858000"/>
              <a:gd name="connsiteX178" fmla="*/ 10855487 w 12191998"/>
              <a:gd name="connsiteY178" fmla="*/ 6555799 h 6858000"/>
              <a:gd name="connsiteX179" fmla="*/ 10855487 w 12191998"/>
              <a:gd name="connsiteY179" fmla="*/ 6485891 h 6858000"/>
              <a:gd name="connsiteX180" fmla="*/ 10933761 w 12191998"/>
              <a:gd name="connsiteY180" fmla="*/ 6485891 h 6858000"/>
              <a:gd name="connsiteX181" fmla="*/ 10933761 w 12191998"/>
              <a:gd name="connsiteY181" fmla="*/ 6588722 h 6858000"/>
              <a:gd name="connsiteX182" fmla="*/ 10960139 w 12191998"/>
              <a:gd name="connsiteY182" fmla="*/ 6605985 h 6858000"/>
              <a:gd name="connsiteX183" fmla="*/ 11007123 w 12191998"/>
              <a:gd name="connsiteY183" fmla="*/ 6611730 h 6858000"/>
              <a:gd name="connsiteX184" fmla="*/ 11057673 w 12191998"/>
              <a:gd name="connsiteY184" fmla="*/ 6598004 h 6858000"/>
              <a:gd name="connsiteX185" fmla="*/ 11116396 w 12191998"/>
              <a:gd name="connsiteY185" fmla="*/ 6611730 h 6858000"/>
              <a:gd name="connsiteX186" fmla="*/ 11178218 w 12191998"/>
              <a:gd name="connsiteY186" fmla="*/ 6566215 h 6858000"/>
              <a:gd name="connsiteX187" fmla="*/ 11178218 w 12191998"/>
              <a:gd name="connsiteY187" fmla="*/ 6453560 h 6858000"/>
              <a:gd name="connsiteX188" fmla="*/ 11174400 w 12191998"/>
              <a:gd name="connsiteY188" fmla="*/ 6449715 h 6858000"/>
              <a:gd name="connsiteX189" fmla="*/ 11130149 w 12191998"/>
              <a:gd name="connsiteY189" fmla="*/ 6449715 h 6858000"/>
              <a:gd name="connsiteX190" fmla="*/ 11126297 w 12191998"/>
              <a:gd name="connsiteY190" fmla="*/ 6453560 h 6858000"/>
              <a:gd name="connsiteX191" fmla="*/ 11126297 w 12191998"/>
              <a:gd name="connsiteY191" fmla="*/ 6558851 h 6858000"/>
              <a:gd name="connsiteX192" fmla="*/ 11103796 w 12191998"/>
              <a:gd name="connsiteY192" fmla="*/ 6579941 h 6858000"/>
              <a:gd name="connsiteX193" fmla="*/ 11082063 w 12191998"/>
              <a:gd name="connsiteY193" fmla="*/ 6576897 h 6858000"/>
              <a:gd name="connsiteX194" fmla="*/ 11082063 w 12191998"/>
              <a:gd name="connsiteY194" fmla="*/ 6453560 h 6858000"/>
              <a:gd name="connsiteX195" fmla="*/ 11078228 w 12191998"/>
              <a:gd name="connsiteY195" fmla="*/ 6449715 h 6858000"/>
              <a:gd name="connsiteX196" fmla="*/ 11034027 w 12191998"/>
              <a:gd name="connsiteY196" fmla="*/ 6449715 h 6858000"/>
              <a:gd name="connsiteX197" fmla="*/ 11030175 w 12191998"/>
              <a:gd name="connsiteY197" fmla="*/ 6453560 h 6858000"/>
              <a:gd name="connsiteX198" fmla="*/ 11030175 w 12191998"/>
              <a:gd name="connsiteY198" fmla="*/ 6558851 h 6858000"/>
              <a:gd name="connsiteX199" fmla="*/ 11011492 w 12191998"/>
              <a:gd name="connsiteY199" fmla="*/ 6579941 h 6858000"/>
              <a:gd name="connsiteX200" fmla="*/ 10985674 w 12191998"/>
              <a:gd name="connsiteY200" fmla="*/ 6577197 h 6858000"/>
              <a:gd name="connsiteX201" fmla="*/ 10985674 w 12191998"/>
              <a:gd name="connsiteY201" fmla="*/ 6453560 h 6858000"/>
              <a:gd name="connsiteX202" fmla="*/ 10981855 w 12191998"/>
              <a:gd name="connsiteY202" fmla="*/ 6449715 h 6858000"/>
              <a:gd name="connsiteX203" fmla="*/ 10855478 w 12191998"/>
              <a:gd name="connsiteY203" fmla="*/ 6449715 h 6858000"/>
              <a:gd name="connsiteX204" fmla="*/ 10855478 w 12191998"/>
              <a:gd name="connsiteY204" fmla="*/ 6400922 h 6858000"/>
              <a:gd name="connsiteX205" fmla="*/ 10850532 w 12191998"/>
              <a:gd name="connsiteY205" fmla="*/ 6395735 h 6858000"/>
              <a:gd name="connsiteX206" fmla="*/ 10847257 w 12191998"/>
              <a:gd name="connsiteY206" fmla="*/ 6396277 h 6858000"/>
              <a:gd name="connsiteX207" fmla="*/ 10809315 w 12191998"/>
              <a:gd name="connsiteY207" fmla="*/ 6402866 h 6858000"/>
              <a:gd name="connsiteX208" fmla="*/ 10803858 w 12191998"/>
              <a:gd name="connsiteY208" fmla="*/ 6410529 h 6858000"/>
              <a:gd name="connsiteX209" fmla="*/ 10803858 w 12191998"/>
              <a:gd name="connsiteY209" fmla="*/ 6449724 h 6858000"/>
              <a:gd name="connsiteX210" fmla="*/ 10732979 w 12191998"/>
              <a:gd name="connsiteY210" fmla="*/ 6449724 h 6858000"/>
              <a:gd name="connsiteX211" fmla="*/ 10732979 w 12191998"/>
              <a:gd name="connsiteY211" fmla="*/ 6432470 h 6858000"/>
              <a:gd name="connsiteX212" fmla="*/ 10736822 w 12191998"/>
              <a:gd name="connsiteY212" fmla="*/ 6420119 h 6858000"/>
              <a:gd name="connsiteX213" fmla="*/ 10751403 w 12191998"/>
              <a:gd name="connsiteY213" fmla="*/ 6416583 h 6858000"/>
              <a:gd name="connsiteX214" fmla="*/ 10766493 w 12191998"/>
              <a:gd name="connsiteY214" fmla="*/ 6417934 h 6858000"/>
              <a:gd name="connsiteX215" fmla="*/ 10768415 w 12191998"/>
              <a:gd name="connsiteY215" fmla="*/ 6418201 h 6858000"/>
              <a:gd name="connsiteX216" fmla="*/ 10772233 w 12191998"/>
              <a:gd name="connsiteY216" fmla="*/ 6418760 h 6858000"/>
              <a:gd name="connsiteX217" fmla="*/ 10774982 w 12191998"/>
              <a:gd name="connsiteY217" fmla="*/ 6414916 h 6858000"/>
              <a:gd name="connsiteX218" fmla="*/ 10778324 w 12191998"/>
              <a:gd name="connsiteY218" fmla="*/ 6392983 h 6858000"/>
              <a:gd name="connsiteX219" fmla="*/ 10778575 w 12191998"/>
              <a:gd name="connsiteY219" fmla="*/ 6390524 h 6858000"/>
              <a:gd name="connsiteX220" fmla="*/ 10775550 w 12191998"/>
              <a:gd name="connsiteY220" fmla="*/ 6386128 h 6858000"/>
              <a:gd name="connsiteX221" fmla="*/ 10734048 w 12191998"/>
              <a:gd name="connsiteY221" fmla="*/ 6380908 h 6858000"/>
              <a:gd name="connsiteX222" fmla="*/ 10182569 w 12191998"/>
              <a:gd name="connsiteY222" fmla="*/ 6345000 h 6858000"/>
              <a:gd name="connsiteX223" fmla="*/ 10081200 w 12191998"/>
              <a:gd name="connsiteY223" fmla="*/ 6451084 h 6858000"/>
              <a:gd name="connsiteX224" fmla="*/ 10081200 w 12191998"/>
              <a:gd name="connsiteY224" fmla="*/ 6508391 h 6858000"/>
              <a:gd name="connsiteX225" fmla="*/ 10144117 w 12191998"/>
              <a:gd name="connsiteY225" fmla="*/ 6508391 h 6858000"/>
              <a:gd name="connsiteX226" fmla="*/ 10144117 w 12191998"/>
              <a:gd name="connsiteY226" fmla="*/ 6455771 h 6858000"/>
              <a:gd name="connsiteX227" fmla="*/ 10188627 w 12191998"/>
              <a:gd name="connsiteY227" fmla="*/ 6407244 h 6858000"/>
              <a:gd name="connsiteX228" fmla="*/ 10210853 w 12191998"/>
              <a:gd name="connsiteY228" fmla="*/ 6407244 h 6858000"/>
              <a:gd name="connsiteX229" fmla="*/ 10217470 w 12191998"/>
              <a:gd name="connsiteY229" fmla="*/ 6345000 h 6858000"/>
              <a:gd name="connsiteX230" fmla="*/ 0 w 12191998"/>
              <a:gd name="connsiteY230" fmla="*/ 0 h 6858000"/>
              <a:gd name="connsiteX231" fmla="*/ 12191998 w 12191998"/>
              <a:gd name="connsiteY231" fmla="*/ 0 h 6858000"/>
              <a:gd name="connsiteX232" fmla="*/ 12191998 w 12191998"/>
              <a:gd name="connsiteY232" fmla="*/ 6858000 h 6858000"/>
              <a:gd name="connsiteX233" fmla="*/ 0 w 12191998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8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5A3A98BB-9D6F-4B8C-B732-6D96A965A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1</a:t>
            </a:r>
          </a:p>
        </p:txBody>
      </p:sp>
    </p:spTree>
    <p:extLst>
      <p:ext uri="{BB962C8B-B14F-4D97-AF65-F5344CB8AC3E}">
        <p14:creationId xmlns:p14="http://schemas.microsoft.com/office/powerpoint/2010/main" val="3189164949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&#10;- Dark -" preserve="1">
  <p:cSld name="Full Bleed Imag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222AAA-497F-4115-A05A-731D1B3DA53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DA8D3368-DDB2-4A13-953C-51B4A7C2ACE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298788 w 12191999"/>
              <a:gd name="connsiteY0" fmla="*/ 6533358 h 6858000"/>
              <a:gd name="connsiteX1" fmla="*/ 11298788 w 12191999"/>
              <a:gd name="connsiteY1" fmla="*/ 6577748 h 6858000"/>
              <a:gd name="connsiteX2" fmla="*/ 11277098 w 12191999"/>
              <a:gd name="connsiteY2" fmla="*/ 6580508 h 6858000"/>
              <a:gd name="connsiteX3" fmla="*/ 11251296 w 12191999"/>
              <a:gd name="connsiteY3" fmla="*/ 6559126 h 6858000"/>
              <a:gd name="connsiteX4" fmla="*/ 11271583 w 12191999"/>
              <a:gd name="connsiteY4" fmla="*/ 6537753 h 6858000"/>
              <a:gd name="connsiteX5" fmla="*/ 10560747 w 12191999"/>
              <a:gd name="connsiteY5" fmla="*/ 6479619 h 6858000"/>
              <a:gd name="connsiteX6" fmla="*/ 10586349 w 12191999"/>
              <a:gd name="connsiteY6" fmla="*/ 6528988 h 6858000"/>
              <a:gd name="connsiteX7" fmla="*/ 10560747 w 12191999"/>
              <a:gd name="connsiteY7" fmla="*/ 6577739 h 6858000"/>
              <a:gd name="connsiteX8" fmla="*/ 10535246 w 12191999"/>
              <a:gd name="connsiteY8" fmla="*/ 6528988 h 6858000"/>
              <a:gd name="connsiteX9" fmla="*/ 10560747 w 12191999"/>
              <a:gd name="connsiteY9" fmla="*/ 6479619 h 6858000"/>
              <a:gd name="connsiteX10" fmla="*/ 11568237 w 12191999"/>
              <a:gd name="connsiteY10" fmla="*/ 6479077 h 6858000"/>
              <a:gd name="connsiteX11" fmla="*/ 11592661 w 12191999"/>
              <a:gd name="connsiteY11" fmla="*/ 6494421 h 6858000"/>
              <a:gd name="connsiteX12" fmla="*/ 11594332 w 12191999"/>
              <a:gd name="connsiteY12" fmla="*/ 6515511 h 6858000"/>
              <a:gd name="connsiteX13" fmla="*/ 11594332 w 12191999"/>
              <a:gd name="connsiteY13" fmla="*/ 6519889 h 6858000"/>
              <a:gd name="connsiteX14" fmla="*/ 11542987 w 12191999"/>
              <a:gd name="connsiteY14" fmla="*/ 6519889 h 6858000"/>
              <a:gd name="connsiteX15" fmla="*/ 11542987 w 12191999"/>
              <a:gd name="connsiteY15" fmla="*/ 6517179 h 6858000"/>
              <a:gd name="connsiteX16" fmla="*/ 11544357 w 12191999"/>
              <a:gd name="connsiteY16" fmla="*/ 6496340 h 6858000"/>
              <a:gd name="connsiteX17" fmla="*/ 11568237 w 12191999"/>
              <a:gd name="connsiteY17" fmla="*/ 6479077 h 6858000"/>
              <a:gd name="connsiteX18" fmla="*/ 11720656 w 12191999"/>
              <a:gd name="connsiteY18" fmla="*/ 6460415 h 6858000"/>
              <a:gd name="connsiteX19" fmla="*/ 11725886 w 12191999"/>
              <a:gd name="connsiteY19" fmla="*/ 6460415 h 6858000"/>
              <a:gd name="connsiteX20" fmla="*/ 11733582 w 12191999"/>
              <a:gd name="connsiteY20" fmla="*/ 6487000 h 6858000"/>
              <a:gd name="connsiteX21" fmla="*/ 11712977 w 12191999"/>
              <a:gd name="connsiteY21" fmla="*/ 6487000 h 6858000"/>
              <a:gd name="connsiteX22" fmla="*/ 11710245 w 12191999"/>
              <a:gd name="connsiteY22" fmla="*/ 6450024 h 6858000"/>
              <a:gd name="connsiteX23" fmla="*/ 11709167 w 12191999"/>
              <a:gd name="connsiteY23" fmla="*/ 6450850 h 6858000"/>
              <a:gd name="connsiteX24" fmla="*/ 11687317 w 12191999"/>
              <a:gd name="connsiteY24" fmla="*/ 6515787 h 6858000"/>
              <a:gd name="connsiteX25" fmla="*/ 11687033 w 12191999"/>
              <a:gd name="connsiteY25" fmla="*/ 6516896 h 6858000"/>
              <a:gd name="connsiteX26" fmla="*/ 11687827 w 12191999"/>
              <a:gd name="connsiteY26" fmla="*/ 6517455 h 6858000"/>
              <a:gd name="connsiteX27" fmla="*/ 11703886 w 12191999"/>
              <a:gd name="connsiteY27" fmla="*/ 6517455 h 6858000"/>
              <a:gd name="connsiteX28" fmla="*/ 11705014 w 12191999"/>
              <a:gd name="connsiteY28" fmla="*/ 6516329 h 6858000"/>
              <a:gd name="connsiteX29" fmla="*/ 11709977 w 12191999"/>
              <a:gd name="connsiteY29" fmla="*/ 6497716 h 6858000"/>
              <a:gd name="connsiteX30" fmla="*/ 11736581 w 12191999"/>
              <a:gd name="connsiteY30" fmla="*/ 6497716 h 6858000"/>
              <a:gd name="connsiteX31" fmla="*/ 11741528 w 12191999"/>
              <a:gd name="connsiteY31" fmla="*/ 6516329 h 6858000"/>
              <a:gd name="connsiteX32" fmla="*/ 11742656 w 12191999"/>
              <a:gd name="connsiteY32" fmla="*/ 6517455 h 6858000"/>
              <a:gd name="connsiteX33" fmla="*/ 11757763 w 12191999"/>
              <a:gd name="connsiteY33" fmla="*/ 6517455 h 6858000"/>
              <a:gd name="connsiteX34" fmla="*/ 11758573 w 12191999"/>
              <a:gd name="connsiteY34" fmla="*/ 6516896 h 6858000"/>
              <a:gd name="connsiteX35" fmla="*/ 11758272 w 12191999"/>
              <a:gd name="connsiteY35" fmla="*/ 6515787 h 6858000"/>
              <a:gd name="connsiteX36" fmla="*/ 11737442 w 12191999"/>
              <a:gd name="connsiteY36" fmla="*/ 6450850 h 6858000"/>
              <a:gd name="connsiteX37" fmla="*/ 11736314 w 12191999"/>
              <a:gd name="connsiteY37" fmla="*/ 6450024 h 6858000"/>
              <a:gd name="connsiteX38" fmla="*/ 10188067 w 12191999"/>
              <a:gd name="connsiteY38" fmla="*/ 6449732 h 6858000"/>
              <a:gd name="connsiteX39" fmla="*/ 10188067 w 12191999"/>
              <a:gd name="connsiteY39" fmla="*/ 6496048 h 6858000"/>
              <a:gd name="connsiteX40" fmla="*/ 10143574 w 12191999"/>
              <a:gd name="connsiteY40" fmla="*/ 6547343 h 6858000"/>
              <a:gd name="connsiteX41" fmla="*/ 10120796 w 12191999"/>
              <a:gd name="connsiteY41" fmla="*/ 6547343 h 6858000"/>
              <a:gd name="connsiteX42" fmla="*/ 10114179 w 12191999"/>
              <a:gd name="connsiteY42" fmla="*/ 6609537 h 6858000"/>
              <a:gd name="connsiteX43" fmla="*/ 10146874 w 12191999"/>
              <a:gd name="connsiteY43" fmla="*/ 6609537 h 6858000"/>
              <a:gd name="connsiteX44" fmla="*/ 10250959 w 12191999"/>
              <a:gd name="connsiteY44" fmla="*/ 6500735 h 6858000"/>
              <a:gd name="connsiteX45" fmla="*/ 10250959 w 12191999"/>
              <a:gd name="connsiteY45" fmla="*/ 6449732 h 6858000"/>
              <a:gd name="connsiteX46" fmla="*/ 11804146 w 12191999"/>
              <a:gd name="connsiteY46" fmla="*/ 6448589 h 6858000"/>
              <a:gd name="connsiteX47" fmla="*/ 11769822 w 12191999"/>
              <a:gd name="connsiteY47" fmla="*/ 6483747 h 6858000"/>
              <a:gd name="connsiteX48" fmla="*/ 11805809 w 12191999"/>
              <a:gd name="connsiteY48" fmla="*/ 6518563 h 6858000"/>
              <a:gd name="connsiteX49" fmla="*/ 11825035 w 12191999"/>
              <a:gd name="connsiteY49" fmla="*/ 6516645 h 6858000"/>
              <a:gd name="connsiteX50" fmla="*/ 11824792 w 12191999"/>
              <a:gd name="connsiteY50" fmla="*/ 6516645 h 6858000"/>
              <a:gd name="connsiteX51" fmla="*/ 11830800 w 12191999"/>
              <a:gd name="connsiteY51" fmla="*/ 6508698 h 6858000"/>
              <a:gd name="connsiteX52" fmla="*/ 11830800 w 12191999"/>
              <a:gd name="connsiteY52" fmla="*/ 6480678 h 6858000"/>
              <a:gd name="connsiteX53" fmla="*/ 11829730 w 12191999"/>
              <a:gd name="connsiteY53" fmla="*/ 6479619 h 6858000"/>
              <a:gd name="connsiteX54" fmla="*/ 11804146 w 12191999"/>
              <a:gd name="connsiteY54" fmla="*/ 6479619 h 6858000"/>
              <a:gd name="connsiteX55" fmla="*/ 11803068 w 12191999"/>
              <a:gd name="connsiteY55" fmla="*/ 6480678 h 6858000"/>
              <a:gd name="connsiteX56" fmla="*/ 11803068 w 12191999"/>
              <a:gd name="connsiteY56" fmla="*/ 6488917 h 6858000"/>
              <a:gd name="connsiteX57" fmla="*/ 11804146 w 12191999"/>
              <a:gd name="connsiteY57" fmla="*/ 6490310 h 6858000"/>
              <a:gd name="connsiteX58" fmla="*/ 11815134 w 12191999"/>
              <a:gd name="connsiteY58" fmla="*/ 6491403 h 6858000"/>
              <a:gd name="connsiteX59" fmla="*/ 11815134 w 12191999"/>
              <a:gd name="connsiteY59" fmla="*/ 6507572 h 6858000"/>
              <a:gd name="connsiteX60" fmla="*/ 11806327 w 12191999"/>
              <a:gd name="connsiteY60" fmla="*/ 6507856 h 6858000"/>
              <a:gd name="connsiteX61" fmla="*/ 11786575 w 12191999"/>
              <a:gd name="connsiteY61" fmla="*/ 6484273 h 6858000"/>
              <a:gd name="connsiteX62" fmla="*/ 11808249 w 12191999"/>
              <a:gd name="connsiteY62" fmla="*/ 6460147 h 6858000"/>
              <a:gd name="connsiteX63" fmla="*/ 11824784 w 12191999"/>
              <a:gd name="connsiteY63" fmla="*/ 6462049 h 6858000"/>
              <a:gd name="connsiteX64" fmla="*/ 11826138 w 12191999"/>
              <a:gd name="connsiteY64" fmla="*/ 6462299 h 6858000"/>
              <a:gd name="connsiteX65" fmla="*/ 11828335 w 12191999"/>
              <a:gd name="connsiteY65" fmla="*/ 6462566 h 6858000"/>
              <a:gd name="connsiteX66" fmla="*/ 11829730 w 12191999"/>
              <a:gd name="connsiteY66" fmla="*/ 6460689 h 6858000"/>
              <a:gd name="connsiteX67" fmla="*/ 11830508 w 12191999"/>
              <a:gd name="connsiteY67" fmla="*/ 6456278 h 6858000"/>
              <a:gd name="connsiteX68" fmla="*/ 11830792 w 12191999"/>
              <a:gd name="connsiteY68" fmla="*/ 6454101 h 6858000"/>
              <a:gd name="connsiteX69" fmla="*/ 11829396 w 12191999"/>
              <a:gd name="connsiteY69" fmla="*/ 6452434 h 6858000"/>
              <a:gd name="connsiteX70" fmla="*/ 11804146 w 12191999"/>
              <a:gd name="connsiteY70" fmla="*/ 6448589 h 6858000"/>
              <a:gd name="connsiteX71" fmla="*/ 11468798 w 12191999"/>
              <a:gd name="connsiteY71" fmla="*/ 6446454 h 6858000"/>
              <a:gd name="connsiteX72" fmla="*/ 11414988 w 12191999"/>
              <a:gd name="connsiteY72" fmla="*/ 6451917 h 6858000"/>
              <a:gd name="connsiteX73" fmla="*/ 11388050 w 12191999"/>
              <a:gd name="connsiteY73" fmla="*/ 6469487 h 6858000"/>
              <a:gd name="connsiteX74" fmla="*/ 11388050 w 12191999"/>
              <a:gd name="connsiteY74" fmla="*/ 6603823 h 6858000"/>
              <a:gd name="connsiteX75" fmla="*/ 11391919 w 12191999"/>
              <a:gd name="connsiteY75" fmla="*/ 6607676 h 6858000"/>
              <a:gd name="connsiteX76" fmla="*/ 11436086 w 12191999"/>
              <a:gd name="connsiteY76" fmla="*/ 6607676 h 6858000"/>
              <a:gd name="connsiteX77" fmla="*/ 11439963 w 12191999"/>
              <a:gd name="connsiteY77" fmla="*/ 6603823 h 6858000"/>
              <a:gd name="connsiteX78" fmla="*/ 11439963 w 12191999"/>
              <a:gd name="connsiteY78" fmla="*/ 6485899 h 6858000"/>
              <a:gd name="connsiteX79" fmla="*/ 11474847 w 12191999"/>
              <a:gd name="connsiteY79" fmla="*/ 6483455 h 6858000"/>
              <a:gd name="connsiteX80" fmla="*/ 11480345 w 12191999"/>
              <a:gd name="connsiteY80" fmla="*/ 6477109 h 6858000"/>
              <a:gd name="connsiteX81" fmla="*/ 11480345 w 12191999"/>
              <a:gd name="connsiteY81" fmla="*/ 6452750 h 6858000"/>
              <a:gd name="connsiteX82" fmla="*/ 11474003 w 12191999"/>
              <a:gd name="connsiteY82" fmla="*/ 6446454 h 6858000"/>
              <a:gd name="connsiteX83" fmla="*/ 10401190 w 12191999"/>
              <a:gd name="connsiteY83" fmla="*/ 6445921 h 6858000"/>
              <a:gd name="connsiteX84" fmla="*/ 10335023 w 12191999"/>
              <a:gd name="connsiteY84" fmla="*/ 6496039 h 6858000"/>
              <a:gd name="connsiteX85" fmla="*/ 10382516 w 12191999"/>
              <a:gd name="connsiteY85" fmla="*/ 6545666 h 6858000"/>
              <a:gd name="connsiteX86" fmla="*/ 10385549 w 12191999"/>
              <a:gd name="connsiteY86" fmla="*/ 6546191 h 6858000"/>
              <a:gd name="connsiteX87" fmla="*/ 10406153 w 12191999"/>
              <a:gd name="connsiteY87" fmla="*/ 6563203 h 6858000"/>
              <a:gd name="connsiteX88" fmla="*/ 10384972 w 12191999"/>
              <a:gd name="connsiteY88" fmla="*/ 6578581 h 6858000"/>
              <a:gd name="connsiteX89" fmla="*/ 10343504 w 12191999"/>
              <a:gd name="connsiteY89" fmla="*/ 6572285 h 6858000"/>
              <a:gd name="connsiteX90" fmla="*/ 10343771 w 12191999"/>
              <a:gd name="connsiteY90" fmla="*/ 6572285 h 6858000"/>
              <a:gd name="connsiteX91" fmla="*/ 10342961 w 12191999"/>
              <a:gd name="connsiteY91" fmla="*/ 6572034 h 6858000"/>
              <a:gd name="connsiteX92" fmla="*/ 10339936 w 12191999"/>
              <a:gd name="connsiteY92" fmla="*/ 6571459 h 6858000"/>
              <a:gd name="connsiteX93" fmla="*/ 10336886 w 12191999"/>
              <a:gd name="connsiteY93" fmla="*/ 6575304 h 6858000"/>
              <a:gd name="connsiteX94" fmla="*/ 10333628 w 12191999"/>
              <a:gd name="connsiteY94" fmla="*/ 6594759 h 6858000"/>
              <a:gd name="connsiteX95" fmla="*/ 10333068 w 12191999"/>
              <a:gd name="connsiteY95" fmla="*/ 6598854 h 6858000"/>
              <a:gd name="connsiteX96" fmla="*/ 10336076 w 12191999"/>
              <a:gd name="connsiteY96" fmla="*/ 6602698 h 6858000"/>
              <a:gd name="connsiteX97" fmla="*/ 10392408 w 12191999"/>
              <a:gd name="connsiteY97" fmla="*/ 6611237 h 6858000"/>
              <a:gd name="connsiteX98" fmla="*/ 10458567 w 12191999"/>
              <a:gd name="connsiteY98" fmla="*/ 6558867 h 6858000"/>
              <a:gd name="connsiteX99" fmla="*/ 10414935 w 12191999"/>
              <a:gd name="connsiteY99" fmla="*/ 6510324 h 6858000"/>
              <a:gd name="connsiteX100" fmla="*/ 10410481 w 12191999"/>
              <a:gd name="connsiteY100" fmla="*/ 6509516 h 6858000"/>
              <a:gd name="connsiteX101" fmla="*/ 10387429 w 12191999"/>
              <a:gd name="connsiteY101" fmla="*/ 6492487 h 6858000"/>
              <a:gd name="connsiteX102" fmla="*/ 10409437 w 12191999"/>
              <a:gd name="connsiteY102" fmla="*/ 6478285 h 6858000"/>
              <a:gd name="connsiteX103" fmla="*/ 10440202 w 12191999"/>
              <a:gd name="connsiteY103" fmla="*/ 6481821 h 6858000"/>
              <a:gd name="connsiteX104" fmla="*/ 10445674 w 12191999"/>
              <a:gd name="connsiteY104" fmla="*/ 6482663 h 6858000"/>
              <a:gd name="connsiteX105" fmla="*/ 10449526 w 12191999"/>
              <a:gd name="connsiteY105" fmla="*/ 6479903 h 6858000"/>
              <a:gd name="connsiteX106" fmla="*/ 10453378 w 12191999"/>
              <a:gd name="connsiteY106" fmla="*/ 6459872 h 6858000"/>
              <a:gd name="connsiteX107" fmla="*/ 10453646 w 12191999"/>
              <a:gd name="connsiteY107" fmla="*/ 6457696 h 6858000"/>
              <a:gd name="connsiteX108" fmla="*/ 10447889 w 12191999"/>
              <a:gd name="connsiteY108" fmla="*/ 6451916 h 6858000"/>
              <a:gd name="connsiteX109" fmla="*/ 10401190 w 12191999"/>
              <a:gd name="connsiteY109" fmla="*/ 6445921 h 6858000"/>
              <a:gd name="connsiteX110" fmla="*/ 11568246 w 12191999"/>
              <a:gd name="connsiteY110" fmla="*/ 6445912 h 6858000"/>
              <a:gd name="connsiteX111" fmla="*/ 11489963 w 12191999"/>
              <a:gd name="connsiteY111" fmla="*/ 6529780 h 6858000"/>
              <a:gd name="connsiteX112" fmla="*/ 11576752 w 12191999"/>
              <a:gd name="connsiteY112" fmla="*/ 6611495 h 6858000"/>
              <a:gd name="connsiteX113" fmla="*/ 11633068 w 12191999"/>
              <a:gd name="connsiteY113" fmla="*/ 6601597 h 6858000"/>
              <a:gd name="connsiteX114" fmla="*/ 11637187 w 12191999"/>
              <a:gd name="connsiteY114" fmla="*/ 6596410 h 6858000"/>
              <a:gd name="connsiteX115" fmla="*/ 11636936 w 12191999"/>
              <a:gd name="connsiteY115" fmla="*/ 6594200 h 6858000"/>
              <a:gd name="connsiteX116" fmla="*/ 11632533 w 12191999"/>
              <a:gd name="connsiteY116" fmla="*/ 6576112 h 6858000"/>
              <a:gd name="connsiteX117" fmla="*/ 11632533 w 12191999"/>
              <a:gd name="connsiteY117" fmla="*/ 6576379 h 6858000"/>
              <a:gd name="connsiteX118" fmla="*/ 11627570 w 12191999"/>
              <a:gd name="connsiteY118" fmla="*/ 6571726 h 6858000"/>
              <a:gd name="connsiteX119" fmla="*/ 11623994 w 12191999"/>
              <a:gd name="connsiteY119" fmla="*/ 6572284 h 6858000"/>
              <a:gd name="connsiteX120" fmla="*/ 11624278 w 12191999"/>
              <a:gd name="connsiteY120" fmla="*/ 6572284 h 6858000"/>
              <a:gd name="connsiteX121" fmla="*/ 11586085 w 12191999"/>
              <a:gd name="connsiteY121" fmla="*/ 6578580 h 6858000"/>
              <a:gd name="connsiteX122" fmla="*/ 11556398 w 12191999"/>
              <a:gd name="connsiteY122" fmla="*/ 6573886 h 6858000"/>
              <a:gd name="connsiteX123" fmla="*/ 11543505 w 12191999"/>
              <a:gd name="connsiteY123" fmla="*/ 6549260 h 6858000"/>
              <a:gd name="connsiteX124" fmla="*/ 11636936 w 12191999"/>
              <a:gd name="connsiteY124" fmla="*/ 6549260 h 6858000"/>
              <a:gd name="connsiteX125" fmla="*/ 11644331 w 12191999"/>
              <a:gd name="connsiteY125" fmla="*/ 6540754 h 6858000"/>
              <a:gd name="connsiteX126" fmla="*/ 11644331 w 12191999"/>
              <a:gd name="connsiteY126" fmla="*/ 6526210 h 6858000"/>
              <a:gd name="connsiteX127" fmla="*/ 11628397 w 12191999"/>
              <a:gd name="connsiteY127" fmla="*/ 6464525 h 6858000"/>
              <a:gd name="connsiteX128" fmla="*/ 11568246 w 12191999"/>
              <a:gd name="connsiteY128" fmla="*/ 6445912 h 6858000"/>
              <a:gd name="connsiteX129" fmla="*/ 10560747 w 12191999"/>
              <a:gd name="connsiteY129" fmla="*/ 6445912 h 6858000"/>
              <a:gd name="connsiteX130" fmla="*/ 10482214 w 12191999"/>
              <a:gd name="connsiteY130" fmla="*/ 6528988 h 6858000"/>
              <a:gd name="connsiteX131" fmla="*/ 10560747 w 12191999"/>
              <a:gd name="connsiteY131" fmla="*/ 6611496 h 6858000"/>
              <a:gd name="connsiteX132" fmla="*/ 10639314 w 12191999"/>
              <a:gd name="connsiteY132" fmla="*/ 6528988 h 6858000"/>
              <a:gd name="connsiteX133" fmla="*/ 10560747 w 12191999"/>
              <a:gd name="connsiteY133" fmla="*/ 6445912 h 6858000"/>
              <a:gd name="connsiteX134" fmla="*/ 11283665 w 12191999"/>
              <a:gd name="connsiteY134" fmla="*/ 6445904 h 6858000"/>
              <a:gd name="connsiteX135" fmla="*/ 11215576 w 12191999"/>
              <a:gd name="connsiteY135" fmla="*/ 6457112 h 6858000"/>
              <a:gd name="connsiteX136" fmla="*/ 11211716 w 12191999"/>
              <a:gd name="connsiteY136" fmla="*/ 6461240 h 6858000"/>
              <a:gd name="connsiteX137" fmla="*/ 11211716 w 12191999"/>
              <a:gd name="connsiteY137" fmla="*/ 6462316 h 6858000"/>
              <a:gd name="connsiteX138" fmla="*/ 11212000 w 12191999"/>
              <a:gd name="connsiteY138" fmla="*/ 6463158 h 6858000"/>
              <a:gd name="connsiteX139" fmla="*/ 11217197 w 12191999"/>
              <a:gd name="connsiteY139" fmla="*/ 6485899 h 6858000"/>
              <a:gd name="connsiteX140" fmla="*/ 11219979 w 12191999"/>
              <a:gd name="connsiteY140" fmla="*/ 6488109 h 6858000"/>
              <a:gd name="connsiteX141" fmla="*/ 11222177 w 12191999"/>
              <a:gd name="connsiteY141" fmla="*/ 6487826 h 6858000"/>
              <a:gd name="connsiteX142" fmla="*/ 11271884 w 12191999"/>
              <a:gd name="connsiteY142" fmla="*/ 6479620 h 6858000"/>
              <a:gd name="connsiteX143" fmla="*/ 11292171 w 12191999"/>
              <a:gd name="connsiteY143" fmla="*/ 6482330 h 6858000"/>
              <a:gd name="connsiteX144" fmla="*/ 11298788 w 12191999"/>
              <a:gd name="connsiteY144" fmla="*/ 6497974 h 6858000"/>
              <a:gd name="connsiteX145" fmla="*/ 11298788 w 12191999"/>
              <a:gd name="connsiteY145" fmla="*/ 6504829 h 6858000"/>
              <a:gd name="connsiteX146" fmla="*/ 11246893 w 12191999"/>
              <a:gd name="connsiteY146" fmla="*/ 6513068 h 6858000"/>
              <a:gd name="connsiteX147" fmla="*/ 11201564 w 12191999"/>
              <a:gd name="connsiteY147" fmla="*/ 6559626 h 6858000"/>
              <a:gd name="connsiteX148" fmla="*/ 11276245 w 12191999"/>
              <a:gd name="connsiteY148" fmla="*/ 6611488 h 6858000"/>
              <a:gd name="connsiteX149" fmla="*/ 11320462 w 12191999"/>
              <a:gd name="connsiteY149" fmla="*/ 6607661 h 6858000"/>
              <a:gd name="connsiteX150" fmla="*/ 11350467 w 12191999"/>
              <a:gd name="connsiteY150" fmla="*/ 6576096 h 6858000"/>
              <a:gd name="connsiteX151" fmla="*/ 11350467 w 12191999"/>
              <a:gd name="connsiteY151" fmla="*/ 6493304 h 6858000"/>
              <a:gd name="connsiteX152" fmla="*/ 11330639 w 12191999"/>
              <a:gd name="connsiteY152" fmla="*/ 6454936 h 6858000"/>
              <a:gd name="connsiteX153" fmla="*/ 11283665 w 12191999"/>
              <a:gd name="connsiteY153" fmla="*/ 6445904 h 6858000"/>
              <a:gd name="connsiteX154" fmla="*/ 10734048 w 12191999"/>
              <a:gd name="connsiteY154" fmla="*/ 6380908 h 6858000"/>
              <a:gd name="connsiteX155" fmla="*/ 10680815 w 12191999"/>
              <a:gd name="connsiteY155" fmla="*/ 6429993 h 6858000"/>
              <a:gd name="connsiteX156" fmla="*/ 10680815 w 12191999"/>
              <a:gd name="connsiteY156" fmla="*/ 6449715 h 6858000"/>
              <a:gd name="connsiteX157" fmla="*/ 10657453 w 12191999"/>
              <a:gd name="connsiteY157" fmla="*/ 6449715 h 6858000"/>
              <a:gd name="connsiteX158" fmla="*/ 10653593 w 12191999"/>
              <a:gd name="connsiteY158" fmla="*/ 6453560 h 6858000"/>
              <a:gd name="connsiteX159" fmla="*/ 10653593 w 12191999"/>
              <a:gd name="connsiteY159" fmla="*/ 6481805 h 6858000"/>
              <a:gd name="connsiteX160" fmla="*/ 10657453 w 12191999"/>
              <a:gd name="connsiteY160" fmla="*/ 6485658 h 6858000"/>
              <a:gd name="connsiteX161" fmla="*/ 10680815 w 12191999"/>
              <a:gd name="connsiteY161" fmla="*/ 6485658 h 6858000"/>
              <a:gd name="connsiteX162" fmla="*/ 10680815 w 12191999"/>
              <a:gd name="connsiteY162" fmla="*/ 6603808 h 6858000"/>
              <a:gd name="connsiteX163" fmla="*/ 10684650 w 12191999"/>
              <a:gd name="connsiteY163" fmla="*/ 6607661 h 6858000"/>
              <a:gd name="connsiteX164" fmla="*/ 10729152 w 12191999"/>
              <a:gd name="connsiteY164" fmla="*/ 6607661 h 6858000"/>
              <a:gd name="connsiteX165" fmla="*/ 10732987 w 12191999"/>
              <a:gd name="connsiteY165" fmla="*/ 6603808 h 6858000"/>
              <a:gd name="connsiteX166" fmla="*/ 10732987 w 12191999"/>
              <a:gd name="connsiteY166" fmla="*/ 6485666 h 6858000"/>
              <a:gd name="connsiteX167" fmla="*/ 10803875 w 12191999"/>
              <a:gd name="connsiteY167" fmla="*/ 6485666 h 6858000"/>
              <a:gd name="connsiteX168" fmla="*/ 10803875 w 12191999"/>
              <a:gd name="connsiteY168" fmla="*/ 6559126 h 6858000"/>
              <a:gd name="connsiteX169" fmla="*/ 10860191 w 12191999"/>
              <a:gd name="connsiteY169" fmla="*/ 6610112 h 6858000"/>
              <a:gd name="connsiteX170" fmla="*/ 10898610 w 12191999"/>
              <a:gd name="connsiteY170" fmla="*/ 6604608 h 6858000"/>
              <a:gd name="connsiteX171" fmla="*/ 10902746 w 12191999"/>
              <a:gd name="connsiteY171" fmla="*/ 6599688 h 6858000"/>
              <a:gd name="connsiteX172" fmla="*/ 10902495 w 12191999"/>
              <a:gd name="connsiteY172" fmla="*/ 6597228 h 6858000"/>
              <a:gd name="connsiteX173" fmla="*/ 10898342 w 12191999"/>
              <a:gd name="connsiteY173" fmla="*/ 6575563 h 6858000"/>
              <a:gd name="connsiteX174" fmla="*/ 10895050 w 12191999"/>
              <a:gd name="connsiteY174" fmla="*/ 6572277 h 6858000"/>
              <a:gd name="connsiteX175" fmla="*/ 10892869 w 12191999"/>
              <a:gd name="connsiteY175" fmla="*/ 6572527 h 6858000"/>
              <a:gd name="connsiteX176" fmla="*/ 10891482 w 12191999"/>
              <a:gd name="connsiteY176" fmla="*/ 6572811 h 6858000"/>
              <a:gd name="connsiteX177" fmla="*/ 10874170 w 12191999"/>
              <a:gd name="connsiteY177" fmla="*/ 6574162 h 6858000"/>
              <a:gd name="connsiteX178" fmla="*/ 10855487 w 12191999"/>
              <a:gd name="connsiteY178" fmla="*/ 6555799 h 6858000"/>
              <a:gd name="connsiteX179" fmla="*/ 10855487 w 12191999"/>
              <a:gd name="connsiteY179" fmla="*/ 6485891 h 6858000"/>
              <a:gd name="connsiteX180" fmla="*/ 10933761 w 12191999"/>
              <a:gd name="connsiteY180" fmla="*/ 6485891 h 6858000"/>
              <a:gd name="connsiteX181" fmla="*/ 10933761 w 12191999"/>
              <a:gd name="connsiteY181" fmla="*/ 6588722 h 6858000"/>
              <a:gd name="connsiteX182" fmla="*/ 10960139 w 12191999"/>
              <a:gd name="connsiteY182" fmla="*/ 6605985 h 6858000"/>
              <a:gd name="connsiteX183" fmla="*/ 11007123 w 12191999"/>
              <a:gd name="connsiteY183" fmla="*/ 6611730 h 6858000"/>
              <a:gd name="connsiteX184" fmla="*/ 11057673 w 12191999"/>
              <a:gd name="connsiteY184" fmla="*/ 6598004 h 6858000"/>
              <a:gd name="connsiteX185" fmla="*/ 11116396 w 12191999"/>
              <a:gd name="connsiteY185" fmla="*/ 6611730 h 6858000"/>
              <a:gd name="connsiteX186" fmla="*/ 11178218 w 12191999"/>
              <a:gd name="connsiteY186" fmla="*/ 6566215 h 6858000"/>
              <a:gd name="connsiteX187" fmla="*/ 11178218 w 12191999"/>
              <a:gd name="connsiteY187" fmla="*/ 6453560 h 6858000"/>
              <a:gd name="connsiteX188" fmla="*/ 11174400 w 12191999"/>
              <a:gd name="connsiteY188" fmla="*/ 6449715 h 6858000"/>
              <a:gd name="connsiteX189" fmla="*/ 11130149 w 12191999"/>
              <a:gd name="connsiteY189" fmla="*/ 6449715 h 6858000"/>
              <a:gd name="connsiteX190" fmla="*/ 11126297 w 12191999"/>
              <a:gd name="connsiteY190" fmla="*/ 6453560 h 6858000"/>
              <a:gd name="connsiteX191" fmla="*/ 11126297 w 12191999"/>
              <a:gd name="connsiteY191" fmla="*/ 6558851 h 6858000"/>
              <a:gd name="connsiteX192" fmla="*/ 11103796 w 12191999"/>
              <a:gd name="connsiteY192" fmla="*/ 6579941 h 6858000"/>
              <a:gd name="connsiteX193" fmla="*/ 11082063 w 12191999"/>
              <a:gd name="connsiteY193" fmla="*/ 6576897 h 6858000"/>
              <a:gd name="connsiteX194" fmla="*/ 11082063 w 12191999"/>
              <a:gd name="connsiteY194" fmla="*/ 6453560 h 6858000"/>
              <a:gd name="connsiteX195" fmla="*/ 11078228 w 12191999"/>
              <a:gd name="connsiteY195" fmla="*/ 6449715 h 6858000"/>
              <a:gd name="connsiteX196" fmla="*/ 11034027 w 12191999"/>
              <a:gd name="connsiteY196" fmla="*/ 6449715 h 6858000"/>
              <a:gd name="connsiteX197" fmla="*/ 11030175 w 12191999"/>
              <a:gd name="connsiteY197" fmla="*/ 6453560 h 6858000"/>
              <a:gd name="connsiteX198" fmla="*/ 11030175 w 12191999"/>
              <a:gd name="connsiteY198" fmla="*/ 6558851 h 6858000"/>
              <a:gd name="connsiteX199" fmla="*/ 11011492 w 12191999"/>
              <a:gd name="connsiteY199" fmla="*/ 6579941 h 6858000"/>
              <a:gd name="connsiteX200" fmla="*/ 10985674 w 12191999"/>
              <a:gd name="connsiteY200" fmla="*/ 6577197 h 6858000"/>
              <a:gd name="connsiteX201" fmla="*/ 10985674 w 12191999"/>
              <a:gd name="connsiteY201" fmla="*/ 6453560 h 6858000"/>
              <a:gd name="connsiteX202" fmla="*/ 10981855 w 12191999"/>
              <a:gd name="connsiteY202" fmla="*/ 6449715 h 6858000"/>
              <a:gd name="connsiteX203" fmla="*/ 10855478 w 12191999"/>
              <a:gd name="connsiteY203" fmla="*/ 6449715 h 6858000"/>
              <a:gd name="connsiteX204" fmla="*/ 10855478 w 12191999"/>
              <a:gd name="connsiteY204" fmla="*/ 6400922 h 6858000"/>
              <a:gd name="connsiteX205" fmla="*/ 10850532 w 12191999"/>
              <a:gd name="connsiteY205" fmla="*/ 6395735 h 6858000"/>
              <a:gd name="connsiteX206" fmla="*/ 10847257 w 12191999"/>
              <a:gd name="connsiteY206" fmla="*/ 6396277 h 6858000"/>
              <a:gd name="connsiteX207" fmla="*/ 10809315 w 12191999"/>
              <a:gd name="connsiteY207" fmla="*/ 6402866 h 6858000"/>
              <a:gd name="connsiteX208" fmla="*/ 10803858 w 12191999"/>
              <a:gd name="connsiteY208" fmla="*/ 6410529 h 6858000"/>
              <a:gd name="connsiteX209" fmla="*/ 10803858 w 12191999"/>
              <a:gd name="connsiteY209" fmla="*/ 6449724 h 6858000"/>
              <a:gd name="connsiteX210" fmla="*/ 10732979 w 12191999"/>
              <a:gd name="connsiteY210" fmla="*/ 6449724 h 6858000"/>
              <a:gd name="connsiteX211" fmla="*/ 10732979 w 12191999"/>
              <a:gd name="connsiteY211" fmla="*/ 6432470 h 6858000"/>
              <a:gd name="connsiteX212" fmla="*/ 10736822 w 12191999"/>
              <a:gd name="connsiteY212" fmla="*/ 6420119 h 6858000"/>
              <a:gd name="connsiteX213" fmla="*/ 10751403 w 12191999"/>
              <a:gd name="connsiteY213" fmla="*/ 6416583 h 6858000"/>
              <a:gd name="connsiteX214" fmla="*/ 10766493 w 12191999"/>
              <a:gd name="connsiteY214" fmla="*/ 6417934 h 6858000"/>
              <a:gd name="connsiteX215" fmla="*/ 10768415 w 12191999"/>
              <a:gd name="connsiteY215" fmla="*/ 6418201 h 6858000"/>
              <a:gd name="connsiteX216" fmla="*/ 10772233 w 12191999"/>
              <a:gd name="connsiteY216" fmla="*/ 6418760 h 6858000"/>
              <a:gd name="connsiteX217" fmla="*/ 10774982 w 12191999"/>
              <a:gd name="connsiteY217" fmla="*/ 6414916 h 6858000"/>
              <a:gd name="connsiteX218" fmla="*/ 10778324 w 12191999"/>
              <a:gd name="connsiteY218" fmla="*/ 6392983 h 6858000"/>
              <a:gd name="connsiteX219" fmla="*/ 10778575 w 12191999"/>
              <a:gd name="connsiteY219" fmla="*/ 6390524 h 6858000"/>
              <a:gd name="connsiteX220" fmla="*/ 10775550 w 12191999"/>
              <a:gd name="connsiteY220" fmla="*/ 6386128 h 6858000"/>
              <a:gd name="connsiteX221" fmla="*/ 10734048 w 12191999"/>
              <a:gd name="connsiteY221" fmla="*/ 6380908 h 6858000"/>
              <a:gd name="connsiteX222" fmla="*/ 10182569 w 12191999"/>
              <a:gd name="connsiteY222" fmla="*/ 6345000 h 6858000"/>
              <a:gd name="connsiteX223" fmla="*/ 10081200 w 12191999"/>
              <a:gd name="connsiteY223" fmla="*/ 6451084 h 6858000"/>
              <a:gd name="connsiteX224" fmla="*/ 10081200 w 12191999"/>
              <a:gd name="connsiteY224" fmla="*/ 6508391 h 6858000"/>
              <a:gd name="connsiteX225" fmla="*/ 10144117 w 12191999"/>
              <a:gd name="connsiteY225" fmla="*/ 6508391 h 6858000"/>
              <a:gd name="connsiteX226" fmla="*/ 10144117 w 12191999"/>
              <a:gd name="connsiteY226" fmla="*/ 6455771 h 6858000"/>
              <a:gd name="connsiteX227" fmla="*/ 10188627 w 12191999"/>
              <a:gd name="connsiteY227" fmla="*/ 6407244 h 6858000"/>
              <a:gd name="connsiteX228" fmla="*/ 10210853 w 12191999"/>
              <a:gd name="connsiteY228" fmla="*/ 6407244 h 6858000"/>
              <a:gd name="connsiteX229" fmla="*/ 10217470 w 12191999"/>
              <a:gd name="connsiteY229" fmla="*/ 6345000 h 6858000"/>
              <a:gd name="connsiteX230" fmla="*/ 0 w 12191999"/>
              <a:gd name="connsiteY230" fmla="*/ 0 h 6858000"/>
              <a:gd name="connsiteX231" fmla="*/ 12191999 w 12191999"/>
              <a:gd name="connsiteY231" fmla="*/ 0 h 6858000"/>
              <a:gd name="connsiteX232" fmla="*/ 12191999 w 12191999"/>
              <a:gd name="connsiteY232" fmla="*/ 6858000 h 6858000"/>
              <a:gd name="connsiteX233" fmla="*/ 0 w 12191999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9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8F5FC4F9-5CE8-481A-A642-E1DF52A1CE1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1</a:t>
            </a:r>
          </a:p>
        </p:txBody>
      </p:sp>
    </p:spTree>
    <p:extLst>
      <p:ext uri="{BB962C8B-B14F-4D97-AF65-F5344CB8AC3E}">
        <p14:creationId xmlns:p14="http://schemas.microsoft.com/office/powerpoint/2010/main" val="171665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 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E4BC88E4-0D26-41E6-8DE3-67CA588048C0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77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A9585ADC-08B8-45FD-80FE-46AC3DB310D7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04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EDDF15-459B-4C18-9AB7-2CFC650F197B}" type="datetime1">
              <a:rPr lang="en-US"/>
              <a:t>1/30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36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 userDrawn="1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5A0187-1D75-4CD8-BE6E-5C14C91FEF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21442-1C4F-42B0-B924-83BE44F480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3C509-ACF3-4C73-862F-68788EB41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</p:spTree>
    <p:extLst>
      <p:ext uri="{BB962C8B-B14F-4D97-AF65-F5344CB8AC3E}">
        <p14:creationId xmlns:p14="http://schemas.microsoft.com/office/powerpoint/2010/main" val="3008004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3F42E8-7E8C-4DF3-9BFD-4A1DD0D774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7DEFD-1ABE-4CE2-A3B3-85A9E0AB7A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1223C-D612-49D5-B8C0-597477B82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</p:spTree>
    <p:extLst>
      <p:ext uri="{BB962C8B-B14F-4D97-AF65-F5344CB8AC3E}">
        <p14:creationId xmlns:p14="http://schemas.microsoft.com/office/powerpoint/2010/main" val="30872718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6683242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1364" userDrawn="1">
          <p15:clr>
            <a:srgbClr val="547EBF"/>
          </p15:clr>
        </p15:guide>
        <p15:guide id="3" orient="horz" pos="1486" userDrawn="1">
          <p15:clr>
            <a:srgbClr val="547EBF"/>
          </p15:clr>
        </p15:guide>
        <p15:guide id="4" orient="horz" pos="3813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3F9F82-086F-44A2-9FD3-F72B186873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t>1/30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1F974B-CE10-440C-B8EA-263C3F409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56F1E6-B653-47A1-9AF0-8F5007B94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</p:spTree>
    <p:extLst>
      <p:ext uri="{BB962C8B-B14F-4D97-AF65-F5344CB8AC3E}">
        <p14:creationId xmlns:p14="http://schemas.microsoft.com/office/powerpoint/2010/main" val="42677219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003" userDrawn="1">
          <p15:clr>
            <a:srgbClr val="547EBF"/>
          </p15:clr>
        </p15:guide>
        <p15:guide id="2" orient="horz" pos="262" userDrawn="1">
          <p15:clr>
            <a:srgbClr val="547EBF"/>
          </p15:clr>
        </p15:guide>
        <p15:guide id="3" orient="horz" pos="813" userDrawn="1">
          <p15:clr>
            <a:srgbClr val="547EBF"/>
          </p15:clr>
        </p15:guide>
        <p15:guide id="4" orient="horz" pos="1854" userDrawn="1">
          <p15:clr>
            <a:srgbClr val="547EBF"/>
          </p15:clr>
        </p15:guide>
        <p15:guide id="5" orient="horz" pos="2099" userDrawn="1">
          <p15:clr>
            <a:srgbClr val="547EBF"/>
          </p15:clr>
        </p15:guide>
        <p15:guide id="6" orient="horz" pos="2589" userDrawn="1">
          <p15:clr>
            <a:srgbClr val="547EBF"/>
          </p15:clr>
        </p15:guide>
        <p15:guide id="7" orient="horz" pos="2711" userDrawn="1">
          <p15:clr>
            <a:srgbClr val="547EBF"/>
          </p15:clr>
        </p15:guide>
        <p15:guide id="8" orient="horz" pos="3813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  <p15:guide id="11" pos="228" userDrawn="1">
          <p15:clr>
            <a:srgbClr val="547EBF"/>
          </p15:clr>
        </p15:guide>
        <p15:guide id="12" pos="2554" userDrawn="1">
          <p15:clr>
            <a:srgbClr val="547EBF"/>
          </p15:clr>
        </p15:guide>
        <p15:guide id="13" pos="2677" userDrawn="1">
          <p15:clr>
            <a:srgbClr val="547EBF"/>
          </p15:clr>
        </p15:guide>
        <p15:guide id="14" pos="5126" userDrawn="1">
          <p15:clr>
            <a:srgbClr val="547EBF"/>
          </p15:clr>
        </p15:guide>
        <p15:guide id="15" pos="7452" userDrawn="1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051041-408A-4720-86ED-4C300F8D0E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BC89B-DEAE-4ACD-90D0-819C44DDF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222638-5831-4F76-BA71-6C704AB94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</p:spTree>
    <p:extLst>
      <p:ext uri="{BB962C8B-B14F-4D97-AF65-F5344CB8AC3E}">
        <p14:creationId xmlns:p14="http://schemas.microsoft.com/office/powerpoint/2010/main" val="39567701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3813" userDrawn="1">
          <p15:clr>
            <a:srgbClr val="547EBF"/>
          </p15:clr>
        </p15:guide>
        <p15:guide id="3" pos="1942" userDrawn="1">
          <p15:clr>
            <a:srgbClr val="547EBF"/>
          </p15:clr>
        </p15:guide>
        <p15:guide id="4" pos="2064" userDrawn="1">
          <p15:clr>
            <a:srgbClr val="547EBF"/>
          </p15:clr>
        </p15:guide>
        <p15:guide id="5" pos="3779" userDrawn="1">
          <p15:clr>
            <a:srgbClr val="547EBF"/>
          </p15:clr>
        </p15:guide>
        <p15:guide id="6" pos="3901" userDrawn="1">
          <p15:clr>
            <a:srgbClr val="547EBF"/>
          </p15:clr>
        </p15:guide>
        <p15:guide id="7" pos="5738" userDrawn="1">
          <p15:clr>
            <a:srgbClr val="547EBF"/>
          </p15:clr>
        </p15:guide>
        <p15:guide id="8" pos="5616" userDrawn="1">
          <p15:clr>
            <a:srgbClr val="547EBF"/>
          </p15:clr>
        </p15:guide>
        <p15:guide id="9" pos="7452" userDrawn="1">
          <p15:clr>
            <a:srgbClr val="547EBF"/>
          </p15:clr>
        </p15:guide>
        <p15:guide id="10" orient="horz" pos="139" userDrawn="1">
          <p15:clr>
            <a:srgbClr val="547EBF"/>
          </p15:clr>
        </p15:guide>
        <p15:guide id="11" orient="horz" pos="446" userDrawn="1">
          <p15:clr>
            <a:srgbClr val="547EBF"/>
          </p15:clr>
        </p15:guide>
        <p15:guide id="12" orient="horz" pos="629" userDrawn="1">
          <p15:clr>
            <a:srgbClr val="547EBF"/>
          </p15:clr>
        </p15:guide>
        <p15:guide id="13" orient="horz" pos="874" userDrawn="1">
          <p15:clr>
            <a:srgbClr val="547EBF"/>
          </p15:clr>
        </p15:guide>
        <p15:guide id="14" orient="horz" pos="3874" userDrawn="1">
          <p15:clr>
            <a:srgbClr val="547EBF"/>
          </p15:clr>
        </p15:guide>
        <p15:guide id="15" orient="horz" pos="3997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 userDrawn="1"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 userDrawn="1"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8420924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 userDrawn="1"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 userDrawn="1"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 userDrawn="1"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</p:spTree>
    <p:extLst>
      <p:ext uri="{BB962C8B-B14F-4D97-AF65-F5344CB8AC3E}">
        <p14:creationId xmlns:p14="http://schemas.microsoft.com/office/powerpoint/2010/main" val="39055444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2554" userDrawn="1">
          <p15:clr>
            <a:srgbClr val="547EBF"/>
          </p15:clr>
        </p15:guide>
        <p15:guide id="8" pos="2677" userDrawn="1">
          <p15:clr>
            <a:srgbClr val="547EBF"/>
          </p15:clr>
        </p15:guide>
        <p15:guide id="9" pos="5003" userDrawn="1">
          <p15:clr>
            <a:srgbClr val="547EBF"/>
          </p15:clr>
        </p15:guide>
        <p15:guide id="10" pos="5126" userDrawn="1">
          <p15:clr>
            <a:srgbClr val="547EBF"/>
          </p15:clr>
        </p15:guide>
        <p15:guide id="11" orient="horz" pos="3874" userDrawn="1">
          <p15:clr>
            <a:srgbClr val="547EBF"/>
          </p15:clr>
        </p15:guide>
        <p15:guide id="12" orient="horz" pos="3997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9.xml"/><Relationship Id="rId21" Type="http://schemas.openxmlformats.org/officeDocument/2006/relationships/tags" Target="../tags/tag4.xml"/><Relationship Id="rId42" Type="http://schemas.openxmlformats.org/officeDocument/2006/relationships/tags" Target="../tags/tag25.xml"/><Relationship Id="rId47" Type="http://schemas.openxmlformats.org/officeDocument/2006/relationships/tags" Target="../tags/tag30.xml"/><Relationship Id="rId63" Type="http://schemas.openxmlformats.org/officeDocument/2006/relationships/tags" Target="../tags/tag46.xml"/><Relationship Id="rId68" Type="http://schemas.openxmlformats.org/officeDocument/2006/relationships/tags" Target="../tags/tag51.xml"/><Relationship Id="rId84" Type="http://schemas.openxmlformats.org/officeDocument/2006/relationships/tags" Target="../tags/tag67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3" Type="http://schemas.openxmlformats.org/officeDocument/2006/relationships/tags" Target="../tags/tag36.xml"/><Relationship Id="rId58" Type="http://schemas.openxmlformats.org/officeDocument/2006/relationships/tags" Target="../tags/tag41.xml"/><Relationship Id="rId74" Type="http://schemas.openxmlformats.org/officeDocument/2006/relationships/tags" Target="../tags/tag57.xml"/><Relationship Id="rId79" Type="http://schemas.openxmlformats.org/officeDocument/2006/relationships/tags" Target="../tags/tag62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44.xml"/><Relationship Id="rId82" Type="http://schemas.openxmlformats.org/officeDocument/2006/relationships/tags" Target="../tags/tag65.xml"/><Relationship Id="rId19" Type="http://schemas.openxmlformats.org/officeDocument/2006/relationships/tags" Target="../tags/tag2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tags" Target="../tags/tag31.xml"/><Relationship Id="rId56" Type="http://schemas.openxmlformats.org/officeDocument/2006/relationships/tags" Target="../tags/tag39.xml"/><Relationship Id="rId64" Type="http://schemas.openxmlformats.org/officeDocument/2006/relationships/tags" Target="../tags/tag47.xml"/><Relationship Id="rId69" Type="http://schemas.openxmlformats.org/officeDocument/2006/relationships/tags" Target="../tags/tag52.xml"/><Relationship Id="rId77" Type="http://schemas.openxmlformats.org/officeDocument/2006/relationships/tags" Target="../tags/tag6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4.xml"/><Relationship Id="rId72" Type="http://schemas.openxmlformats.org/officeDocument/2006/relationships/tags" Target="../tags/tag55.xml"/><Relationship Id="rId80" Type="http://schemas.openxmlformats.org/officeDocument/2006/relationships/tags" Target="../tags/tag6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tags" Target="../tags/tag29.xml"/><Relationship Id="rId59" Type="http://schemas.openxmlformats.org/officeDocument/2006/relationships/tags" Target="../tags/tag42.xml"/><Relationship Id="rId67" Type="http://schemas.openxmlformats.org/officeDocument/2006/relationships/tags" Target="../tags/tag50.xml"/><Relationship Id="rId20" Type="http://schemas.openxmlformats.org/officeDocument/2006/relationships/tags" Target="../tags/tag3.xml"/><Relationship Id="rId41" Type="http://schemas.openxmlformats.org/officeDocument/2006/relationships/tags" Target="../tags/tag24.xml"/><Relationship Id="rId54" Type="http://schemas.openxmlformats.org/officeDocument/2006/relationships/tags" Target="../tags/tag37.xml"/><Relationship Id="rId62" Type="http://schemas.openxmlformats.org/officeDocument/2006/relationships/tags" Target="../tags/tag45.xml"/><Relationship Id="rId70" Type="http://schemas.openxmlformats.org/officeDocument/2006/relationships/tags" Target="../tags/tag53.xml"/><Relationship Id="rId75" Type="http://schemas.openxmlformats.org/officeDocument/2006/relationships/tags" Target="../tags/tag58.xml"/><Relationship Id="rId83" Type="http://schemas.openxmlformats.org/officeDocument/2006/relationships/tags" Target="../tags/tag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49" Type="http://schemas.openxmlformats.org/officeDocument/2006/relationships/tags" Target="../tags/tag32.xml"/><Relationship Id="rId57" Type="http://schemas.openxmlformats.org/officeDocument/2006/relationships/tags" Target="../tags/tag4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52" Type="http://schemas.openxmlformats.org/officeDocument/2006/relationships/tags" Target="../tags/tag35.xml"/><Relationship Id="rId60" Type="http://schemas.openxmlformats.org/officeDocument/2006/relationships/tags" Target="../tags/tag43.xml"/><Relationship Id="rId65" Type="http://schemas.openxmlformats.org/officeDocument/2006/relationships/tags" Target="../tags/tag48.xml"/><Relationship Id="rId73" Type="http://schemas.openxmlformats.org/officeDocument/2006/relationships/tags" Target="../tags/tag56.xml"/><Relationship Id="rId78" Type="http://schemas.openxmlformats.org/officeDocument/2006/relationships/tags" Target="../tags/tag61.xml"/><Relationship Id="rId81" Type="http://schemas.openxmlformats.org/officeDocument/2006/relationships/tags" Target="../tags/tag6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9" Type="http://schemas.openxmlformats.org/officeDocument/2006/relationships/tags" Target="../tags/tag22.xml"/><Relationship Id="rId34" Type="http://schemas.openxmlformats.org/officeDocument/2006/relationships/tags" Target="../tags/tag17.xml"/><Relationship Id="rId50" Type="http://schemas.openxmlformats.org/officeDocument/2006/relationships/tags" Target="../tags/tag33.xml"/><Relationship Id="rId55" Type="http://schemas.openxmlformats.org/officeDocument/2006/relationships/tags" Target="../tags/tag38.xml"/><Relationship Id="rId76" Type="http://schemas.openxmlformats.org/officeDocument/2006/relationships/tags" Target="../tags/tag5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4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2.xml"/><Relationship Id="rId24" Type="http://schemas.openxmlformats.org/officeDocument/2006/relationships/tags" Target="../tags/tag7.xml"/><Relationship Id="rId40" Type="http://schemas.openxmlformats.org/officeDocument/2006/relationships/tags" Target="../tags/tag23.xml"/><Relationship Id="rId45" Type="http://schemas.openxmlformats.org/officeDocument/2006/relationships/tags" Target="../tags/tag28.xml"/><Relationship Id="rId66" Type="http://schemas.openxmlformats.org/officeDocument/2006/relationships/tags" Target="../tags/tag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04A728B0-2EE8-4602-849F-D2D469FDAEE2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Dynamic SAG LOGO">
            <a:extLst>
              <a:ext uri="{FF2B5EF4-FFF2-40B4-BE49-F238E27FC236}">
                <a16:creationId xmlns:a16="http://schemas.microsoft.com/office/drawing/2014/main" id="{ECED27B7-7038-439F-A14B-9A3617C0745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081200" y="6345001"/>
            <a:ext cx="1749600" cy="26673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tags r:id="rId62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tags r:id="rId63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tags r:id="rId64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tags r:id="rId65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tags r:id="rId66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tags r:id="rId67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tags r:id="rId68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tags r:id="rId69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tags r:id="rId70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tags r:id="rId71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tags r:id="rId72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tags r:id="rId73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tags r:id="rId74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tags r:id="rId75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tags r:id="rId76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tags r:id="rId77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tags r:id="rId78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tags r:id="rId79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tags r:id="rId80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tags r:id="rId81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tags r:id="rId82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tags r:id="rId83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tags r:id="rId84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tags r:id="rId2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tags r:id="rId2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tags r:id="rId2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tags r:id="rId2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tags r:id="rId2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tags r:id="rId2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tags r:id="rId3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tags r:id="rId3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tags r:id="rId3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tags r:id="rId3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tags r:id="rId3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tags r:id="rId3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tags r:id="rId3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tags r:id="rId37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tags r:id="rId38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tags r:id="rId39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tags r:id="rId40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tags r:id="rId41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tags r:id="rId42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tags r:id="rId43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tags r:id="rId44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tags r:id="rId45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tags r:id="rId46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tags r:id="rId47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tags r:id="rId48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tags r:id="rId49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tags r:id="rId50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tags r:id="rId51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tags r:id="rId52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tags r:id="rId53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tags r:id="rId54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tags r:id="rId55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tags r:id="rId56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tags r:id="rId57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tags r:id="rId58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tags r:id="rId59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tags r:id="rId60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tags r:id="rId61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670" r:id="rId3"/>
    <p:sldLayoutId id="2147483667" r:id="rId4"/>
    <p:sldLayoutId id="2147483767" r:id="rId5"/>
    <p:sldLayoutId id="2147483699" r:id="rId6"/>
    <p:sldLayoutId id="2147483679" r:id="rId7"/>
    <p:sldLayoutId id="2147483794" r:id="rId8"/>
    <p:sldLayoutId id="2147483792" r:id="rId9"/>
    <p:sldLayoutId id="2147483790" r:id="rId10"/>
    <p:sldLayoutId id="2147483716" r:id="rId11"/>
    <p:sldLayoutId id="2147483795" r:id="rId12"/>
    <p:sldLayoutId id="2147483797" r:id="rId13"/>
    <p:sldLayoutId id="2147483695" r:id="rId14"/>
    <p:sldLayoutId id="2147483713" r:id="rId15"/>
    <p:sldLayoutId id="2147483800" r:id="rId16"/>
    <p:sldLayoutId id="2147483658" r:id="rId17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BBAF474D-C48B-47A3-AD43-776B973A4A1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6D6DA9F7-DB64-4567-BE8E-E069C1B101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Quaderno</a:t>
            </a:r>
            <a:r>
              <a:rPr lang="en-US" dirty="0"/>
              <a:t> Provider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A8455E1-E124-45CE-B4DD-AE99CCF9A2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000" b="1" dirty="0"/>
              <a:t>Participants: </a:t>
            </a:r>
          </a:p>
          <a:p>
            <a:r>
              <a:rPr lang="en-US" sz="2000" dirty="0"/>
              <a:t>Neha </a:t>
            </a:r>
            <a:r>
              <a:rPr lang="en-US" sz="2000" dirty="0" err="1"/>
              <a:t>Neha</a:t>
            </a:r>
            <a:endParaRPr lang="en-US" sz="2000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64FEAB-448B-4DCC-BAEA-3E1F6EF81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A65AAB-DDEE-4779-8335-BF20D8D37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/>
          <a:p>
            <a:fld id="{22FF84AA-2C76-4AF1-8502-73D25D47F37C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71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Quaderno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241BE6-0BF2-4E13-B760-9657E2456D2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at is webMethods CloudStreams Provider for </a:t>
            </a:r>
            <a:r>
              <a:rPr lang="en-US" sz="1800" b="1" u="none" strike="noStrike" kern="0" spc="0" dirty="0" err="1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aderno</a:t>
            </a:r>
            <a:endParaRPr lang="en-IN" sz="1800" b="1" u="none" strike="noStrike" kern="0" spc="0" dirty="0">
              <a:ln>
                <a:noFill/>
              </a:ln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en-US" dirty="0" err="1"/>
              <a:t>Quaderno</a:t>
            </a:r>
            <a:r>
              <a:rPr lang="en-US" dirty="0"/>
              <a:t> provides automatic tax compliance for SaaS, eCommerce, and digital businesses worldwide. </a:t>
            </a:r>
          </a:p>
          <a:p>
            <a:pPr marL="342900" indent="-342900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en-US" dirty="0"/>
              <a:t>In addition to sales tax management, </a:t>
            </a:r>
            <a:r>
              <a:rPr lang="en-US" dirty="0" err="1"/>
              <a:t>Quaderno</a:t>
            </a:r>
            <a:r>
              <a:rPr lang="en-US" dirty="0"/>
              <a:t> offers automatic invoicing, instant tax reports, a variety of useful integrations, and great customer support.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2597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82FEB1-EE72-47B7-AA25-E5AE4970B9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Quaderno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6F0D77-6208-4921-967D-994F15335E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5CA850-090A-4E79-9371-1822E31AE4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65CE6EB-0A29-4D18-B596-D4582C0FD22B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92849" y="756606"/>
            <a:ext cx="11468100" cy="290513"/>
          </a:xfrm>
        </p:spPr>
        <p:txBody>
          <a:bodyPr/>
          <a:lstStyle/>
          <a:p>
            <a:r>
              <a:rPr lang="en-US" dirty="0"/>
              <a:t>Connector capabilities and how it can benefit users</a:t>
            </a:r>
            <a:endParaRPr lang="en-IN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1F289B5-D325-4C01-B093-D26564BA57DB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err="1"/>
              <a:t>WmQuadernoProvider</a:t>
            </a:r>
            <a:r>
              <a:rPr lang="en-US" dirty="0"/>
              <a:t> connector developed using </a:t>
            </a:r>
            <a:r>
              <a:rPr lang="en-US" dirty="0" err="1"/>
              <a:t>cloudstreams</a:t>
            </a:r>
            <a:r>
              <a:rPr lang="en-US" dirty="0"/>
              <a:t> helps to perform various operations like tax compliance, sales tax automation, customer support, tax receipts </a:t>
            </a:r>
            <a:r>
              <a:rPr lang="en-US" dirty="0" err="1"/>
              <a:t>etc</a:t>
            </a:r>
            <a:r>
              <a:rPr lang="en-US" dirty="0"/>
              <a:t> .</a:t>
            </a:r>
          </a:p>
          <a:p>
            <a:r>
              <a:rPr lang="en-US" dirty="0"/>
              <a:t>Using the below resources created, users can manage their tax , create contacts , create credits, create expenses and also get notified via webhooks when new invoice is created in </a:t>
            </a:r>
            <a:r>
              <a:rPr lang="en-US" dirty="0" err="1"/>
              <a:t>Quderno</a:t>
            </a:r>
            <a:r>
              <a:rPr lang="en-US" dirty="0"/>
              <a:t> account. </a:t>
            </a:r>
          </a:p>
          <a:p>
            <a:pPr marL="342900" indent="-342900">
              <a:buAutoNum type="arabicPeriod"/>
            </a:pPr>
            <a:r>
              <a:rPr lang="en-US" b="1" dirty="0"/>
              <a:t>List All Contacts</a:t>
            </a:r>
            <a:r>
              <a:rPr lang="en-US" dirty="0"/>
              <a:t>: List All Contacts.</a:t>
            </a:r>
          </a:p>
          <a:p>
            <a:pPr marL="342900" indent="-342900">
              <a:buAutoNum type="arabicPeriod"/>
            </a:pPr>
            <a:r>
              <a:rPr lang="en-US" b="1" dirty="0"/>
              <a:t>List All Credits</a:t>
            </a:r>
            <a:r>
              <a:rPr lang="en-US" dirty="0"/>
              <a:t>: List All Credits</a:t>
            </a:r>
          </a:p>
          <a:p>
            <a:pPr marL="342900" indent="-342900">
              <a:buAutoNum type="arabicPeriod"/>
            </a:pPr>
            <a:r>
              <a:rPr lang="en-US" b="1" dirty="0"/>
              <a:t>List All Invoices</a:t>
            </a:r>
            <a:r>
              <a:rPr lang="en-US" dirty="0"/>
              <a:t>: List All Invoices</a:t>
            </a:r>
          </a:p>
          <a:p>
            <a:pPr marL="342900" indent="-342900">
              <a:buAutoNum type="arabicPeriod"/>
            </a:pPr>
            <a:r>
              <a:rPr lang="en-US" b="1" dirty="0"/>
              <a:t>List All Tax IDs</a:t>
            </a:r>
            <a:r>
              <a:rPr lang="en-US" dirty="0"/>
              <a:t>: List All Tax IDs</a:t>
            </a:r>
          </a:p>
          <a:p>
            <a:pPr marL="342900" indent="-342900">
              <a:buAutoNum type="arabicPeriod"/>
            </a:pPr>
            <a:r>
              <a:rPr lang="en-US" b="1" dirty="0"/>
              <a:t>List All Webhooks </a:t>
            </a:r>
            <a:r>
              <a:rPr lang="en-US" dirty="0"/>
              <a:t>: List All Webhooks</a:t>
            </a:r>
          </a:p>
          <a:p>
            <a:pPr marL="342900" indent="-342900">
              <a:buAutoNum type="arabicPeriod"/>
            </a:pPr>
            <a:r>
              <a:rPr lang="en-US" b="1" dirty="0"/>
              <a:t>Retrieve Contact </a:t>
            </a:r>
            <a:r>
              <a:rPr lang="en-US" dirty="0"/>
              <a:t>: Retrieve a contact</a:t>
            </a:r>
          </a:p>
          <a:p>
            <a:pPr marL="342900" indent="-342900">
              <a:buAutoNum type="arabicPeriod"/>
            </a:pPr>
            <a:r>
              <a:rPr lang="en-US" b="1" dirty="0"/>
              <a:t>Retrieve Credit </a:t>
            </a:r>
            <a:r>
              <a:rPr lang="en-US" dirty="0"/>
              <a:t>: Retrieve a credit</a:t>
            </a:r>
          </a:p>
          <a:p>
            <a:pPr marL="342900" indent="-342900">
              <a:buAutoNum type="arabicPeriod"/>
            </a:pPr>
            <a:r>
              <a:rPr lang="en-US" b="1" dirty="0"/>
              <a:t>Retrieve expense </a:t>
            </a:r>
            <a:r>
              <a:rPr lang="en-US" dirty="0"/>
              <a:t>: Retrieve an expense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349172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2ADDDD-A891-4A96-BBFF-6051DCDD7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Quaderno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8C3434-3B52-4EC8-B82B-A045FE1EF5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899DDC-FA26-41F0-9C12-C7CB079660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DA961D8-7055-42C2-9A86-387EB0F66CD3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Connector capabilities and how it can benefit users</a:t>
            </a:r>
            <a:endParaRPr lang="en-IN" dirty="0"/>
          </a:p>
          <a:p>
            <a:endParaRPr lang="en-IN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ADE0BBD-FBB8-48EA-A1ED-CF320C1A8B3E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US" b="1" dirty="0"/>
              <a:t>9. Retrieve Invoice</a:t>
            </a:r>
            <a:r>
              <a:rPr lang="en-US" dirty="0"/>
              <a:t>: Retrieve an invoice</a:t>
            </a:r>
          </a:p>
          <a:p>
            <a:r>
              <a:rPr lang="en-US" b="1" dirty="0"/>
              <a:t>10. Retrieve Tax ID</a:t>
            </a:r>
            <a:r>
              <a:rPr lang="en-US" dirty="0"/>
              <a:t>: Retrieve a tax ID</a:t>
            </a:r>
          </a:p>
          <a:p>
            <a:r>
              <a:rPr lang="en-US" b="1" dirty="0"/>
              <a:t>11. Retrieve Webhook</a:t>
            </a:r>
            <a:r>
              <a:rPr lang="en-US" dirty="0"/>
              <a:t>: Retrieve a webhook</a:t>
            </a:r>
          </a:p>
          <a:p>
            <a:r>
              <a:rPr lang="en-US" b="1" dirty="0"/>
              <a:t>12. Update Contact</a:t>
            </a:r>
            <a:r>
              <a:rPr lang="en-US" dirty="0"/>
              <a:t>: Update a contact</a:t>
            </a:r>
          </a:p>
          <a:p>
            <a:r>
              <a:rPr lang="en-US" b="1" dirty="0"/>
              <a:t>13. Update credit</a:t>
            </a:r>
            <a:r>
              <a:rPr lang="en-US" dirty="0"/>
              <a:t>: Update a credit</a:t>
            </a:r>
          </a:p>
          <a:p>
            <a:r>
              <a:rPr lang="en-US" b="1" dirty="0"/>
              <a:t>14. Update Expense </a:t>
            </a:r>
            <a:r>
              <a:rPr lang="en-US" dirty="0"/>
              <a:t>: Update an expense</a:t>
            </a:r>
          </a:p>
          <a:p>
            <a:r>
              <a:rPr lang="en-US" b="1" dirty="0"/>
              <a:t>15. Update Invoice </a:t>
            </a:r>
            <a:r>
              <a:rPr lang="en-US" dirty="0"/>
              <a:t>: Update an invoice</a:t>
            </a:r>
          </a:p>
          <a:p>
            <a:r>
              <a:rPr lang="en-US" b="1" dirty="0"/>
              <a:t>16. Update Tax ID </a:t>
            </a:r>
            <a:r>
              <a:rPr lang="en-US" dirty="0"/>
              <a:t>: Update a tax ID</a:t>
            </a:r>
          </a:p>
          <a:p>
            <a:r>
              <a:rPr lang="en-US" b="1" dirty="0"/>
              <a:t>17. Update Webhook </a:t>
            </a:r>
            <a:r>
              <a:rPr lang="en-US" dirty="0"/>
              <a:t>: Update a webhook</a:t>
            </a:r>
          </a:p>
          <a:p>
            <a:r>
              <a:rPr lang="en-US" b="1" dirty="0"/>
              <a:t>18. Void Credit </a:t>
            </a:r>
            <a:r>
              <a:rPr lang="en-US" dirty="0"/>
              <a:t>: Void a credit</a:t>
            </a:r>
          </a:p>
          <a:p>
            <a:r>
              <a:rPr lang="en-US" b="1" dirty="0"/>
              <a:t>19. Create Contact </a:t>
            </a:r>
            <a:r>
              <a:rPr lang="en-US" dirty="0"/>
              <a:t>: Create a contact</a:t>
            </a:r>
          </a:p>
          <a:p>
            <a:r>
              <a:rPr lang="en-US" b="1" dirty="0"/>
              <a:t>20. Create Credit </a:t>
            </a:r>
            <a:r>
              <a:rPr lang="en-US" dirty="0"/>
              <a:t>: Create a credi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246193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1A13F8-3FC1-485F-A700-47A2D6AA10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Quaderno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1C5087-5B95-4D5E-9629-95BF74178F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97F44D-DA98-496F-B78B-71095B1F24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0C6057A4-B233-4016-A562-37DA8EFF56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Connector capabilities and how it can benefit users</a:t>
            </a:r>
            <a:endParaRPr lang="en-IN" dirty="0"/>
          </a:p>
          <a:p>
            <a:endParaRPr lang="en-IN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20F9134-DFA7-4F35-9CB2-A5FBA0E265F4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US" b="1" dirty="0"/>
              <a:t>21 . Create Expense </a:t>
            </a:r>
            <a:r>
              <a:rPr lang="en-US" dirty="0"/>
              <a:t>: Create an expense</a:t>
            </a:r>
          </a:p>
          <a:p>
            <a:r>
              <a:rPr lang="en-US" b="1" dirty="0"/>
              <a:t>22 . Create Invoice : </a:t>
            </a:r>
            <a:r>
              <a:rPr lang="en-US" dirty="0"/>
              <a:t>Create an invoice</a:t>
            </a:r>
          </a:p>
          <a:p>
            <a:r>
              <a:rPr lang="en-US" b="1" dirty="0"/>
              <a:t>23. Create Tax ID : </a:t>
            </a:r>
            <a:r>
              <a:rPr lang="en-US" dirty="0"/>
              <a:t>Create a tax ID</a:t>
            </a:r>
          </a:p>
          <a:p>
            <a:r>
              <a:rPr lang="en-US" b="1" dirty="0"/>
              <a:t>24. Create Webhook : </a:t>
            </a:r>
            <a:r>
              <a:rPr lang="en-US" dirty="0"/>
              <a:t>Create a webhook</a:t>
            </a:r>
          </a:p>
          <a:p>
            <a:r>
              <a:rPr lang="en-US" b="1" dirty="0"/>
              <a:t>25. Delete Contact : </a:t>
            </a:r>
            <a:r>
              <a:rPr lang="en-US" dirty="0"/>
              <a:t>Delete a contact</a:t>
            </a:r>
          </a:p>
          <a:p>
            <a:r>
              <a:rPr lang="en-US" b="1" dirty="0"/>
              <a:t>26. Delete Expense : </a:t>
            </a:r>
            <a:r>
              <a:rPr lang="en-US" dirty="0"/>
              <a:t>Delete an expense</a:t>
            </a:r>
          </a:p>
          <a:p>
            <a:r>
              <a:rPr lang="en-US" b="1" dirty="0"/>
              <a:t>27. Delete Tax ID : </a:t>
            </a:r>
            <a:r>
              <a:rPr lang="en-US" dirty="0"/>
              <a:t>Delete a tax ID</a:t>
            </a:r>
          </a:p>
          <a:p>
            <a:r>
              <a:rPr lang="en-US" b="1" dirty="0"/>
              <a:t>28. Delete Webhook : </a:t>
            </a:r>
            <a:r>
              <a:rPr lang="en-US" dirty="0"/>
              <a:t>Delete a webhook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739381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for workflo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00A30E-56D3-4B3A-8CDB-4EC8BF085B0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pPr marL="342900" indent="-342900">
              <a:buAutoNum type="arabicPeriod"/>
            </a:pPr>
            <a:r>
              <a:rPr lang="en-US" dirty="0"/>
              <a:t>Workflow to show webhook capability</a:t>
            </a:r>
          </a:p>
          <a:p>
            <a:pPr marL="342900" indent="-342900">
              <a:buAutoNum type="arabicPeriod"/>
            </a:pPr>
            <a:endParaRPr lang="en-US" dirty="0"/>
          </a:p>
          <a:p>
            <a:pPr marL="342900" indent="-342900">
              <a:buAutoNum type="arabicPeriod"/>
            </a:pPr>
            <a:endParaRPr lang="en-IN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869C551-0E23-41CB-8DEC-875CFA8DBB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9456" y="2276872"/>
            <a:ext cx="7362924" cy="2497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7727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57FF23-3A5C-419C-A75D-70285F9D10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for workflo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88DCBDC-7A7C-4DA8-910F-DA517BD2FF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D9138E-6E3D-430D-B968-EF808E7F0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13461D75-07C3-4AF8-BA32-D64DC2534787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6AFBC50-FE0B-4A3A-999D-42D3B9C0FD7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40983" y="1387475"/>
            <a:ext cx="11468100" cy="4665663"/>
          </a:xfrm>
        </p:spPr>
        <p:txBody>
          <a:bodyPr/>
          <a:lstStyle/>
          <a:p>
            <a:r>
              <a:rPr lang="en-US" dirty="0"/>
              <a:t>2. Workflow for Retrieve Contact action</a:t>
            </a:r>
          </a:p>
          <a:p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99971BB-2008-4A15-8825-F6515CA0B6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7448" y="1916833"/>
            <a:ext cx="8280920" cy="3196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5796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F06EE-2FE2-41A6-8D47-898404C64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for workflo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D65E989-F2E8-4244-A2D3-4DF371B549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0613BD-A0E4-48E3-8280-D249A4BC1E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1E2BE45-2A5C-4A3B-9825-548133F6FBE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5E50E54-6FFA-44C9-B8C6-0C86D7A8BB6D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US" dirty="0"/>
              <a:t>3. </a:t>
            </a:r>
            <a:r>
              <a:rPr lang="en-US" dirty="0" err="1"/>
              <a:t>Quaderno</a:t>
            </a:r>
            <a:r>
              <a:rPr lang="en-US" dirty="0"/>
              <a:t> account configuration in webMethods.io </a:t>
            </a:r>
          </a:p>
          <a:p>
            <a:endParaRPr lang="en-US" dirty="0"/>
          </a:p>
          <a:p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82DEED-DD26-48A5-920B-22A5436363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440" y="1950721"/>
            <a:ext cx="2797114" cy="405266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C245222-FE8C-41CF-A510-0B13F5F900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8752" y="2068183"/>
            <a:ext cx="2797114" cy="384209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36EF732-D8CE-4169-8329-A96291E740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40233" y="2068182"/>
            <a:ext cx="2734664" cy="3842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3264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254AEB-7560-4FDF-83DE-ACEDD50906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63E64A-9F9B-478B-85FC-2B62EB076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322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M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JDljU/PhpEmFUl5ZWCyGEFAAAAAAADAAAAAAADAAAAAwADAAAAAAADAAAAAwADAAIA////////BAAAAAMAEAALkruFkLriG0enhO1h8VkO1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JDljU/PhpEmFUl5ZWCyGEDRGF0YQAbAAAABExpbmtlZFNoYXBlRGF0YQAFAAAAAAACTmFtZQAZAAAATGlua2VkU2hhcGVzRGF0YVByb3BlcnR5ABBWZXJzaW9uAAAAAAAJTGFzdFdyaXRlAMVHDqp3AQAAAAEA/////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INFINEON_CATEGORY" val="{&quot;CategoryList&quot;:[],&quot;CategoryDictionary&quot;:{}}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17"/>
  <p:tag name="MIO_HDS" val="True"/>
  <p:tag name="MIO_SKIPVERSION" val="01.01.0001 00:00:00"/>
  <p:tag name="MIO_EKGUID" val="e746a57e-2a84-4a0c-ae3d-5e0e53a112c1"/>
  <p:tag name="MIO_UPDATE" val="True"/>
  <p:tag name="MIO_VERSION" val="14.04.2021 07:50:24"/>
  <p:tag name="MIO_DBID" val="0F45B44C-9BC7-4D85-81C4-7155EE70A7B9"/>
  <p:tag name="MIO_LASTDOWNLOADED" val="04.05.2021 11:39:05.112"/>
  <p:tag name="MIO_OBJECTNAME" val="Software AG - Starter Set"/>
  <p:tag name="MIO_CDID" val="0f6eb175-c46e-498e-a47f-756318dd4d0b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Software AG 2021">
  <a:themeElements>
    <a:clrScheme name="Software AG 2021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1">
      <a:majorFont>
        <a:latin typeface="Rubik"/>
        <a:ea typeface="Rubik"/>
        <a:cs typeface="Rubik"/>
      </a:majorFont>
      <a:minorFont>
        <a:latin typeface="Rubik"/>
        <a:ea typeface="Rubik"/>
        <a:cs typeface="Rubik"/>
      </a:minorFont>
    </a:fontScheme>
    <a:fmtScheme name="Software AG 2021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1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FFFFFF"/>
    </a:custClr>
    <a:custClr name="SAG45">
      <a:srgbClr val="FFFFFF"/>
    </a:custClr>
    <a:custClr name="SAG46">
      <a:srgbClr val="FFFFFF"/>
    </a:custClr>
    <a:custClr name="SAG47">
      <a:srgbClr val="FFFFFF"/>
    </a:custClr>
    <a:custClr name="SAG48">
      <a:srgbClr val="FFFFFF"/>
    </a:custClr>
    <a:custClr name="SAG49">
      <a:srgbClr val="FFFFFF"/>
    </a:custClr>
    <a:custClr name="SAG50">
      <a:srgbClr val="FFFFFF"/>
    </a:custClr>
  </a:custClrLst>
  <a:extLst>
    <a:ext uri="{05A4C25C-085E-4340-85A3-A5531E510DB2}">
      <thm15:themeFamily xmlns:thm15="http://schemas.microsoft.com/office/thememl/2012/main" name="Default Theme" id="{BEFA1B04-0967-4EBB-B6B5-968E9C45D404}" vid="{8FC10CF7-5BFF-4A85-A9CE-590AE55A90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10</TotalTime>
  <Words>581</Words>
  <Application>Microsoft Office PowerPoint</Application>
  <PresentationFormat>Widescreen</PresentationFormat>
  <Paragraphs>71</Paragraphs>
  <Slides>9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Wingdings</vt:lpstr>
      <vt:lpstr>Rubik</vt:lpstr>
      <vt:lpstr>Symbol</vt:lpstr>
      <vt:lpstr>Trebuchet MS</vt:lpstr>
      <vt:lpstr>Software AG 2021</vt:lpstr>
      <vt:lpstr>Quaderno Provider</vt:lpstr>
      <vt:lpstr>Quaderno</vt:lpstr>
      <vt:lpstr>Quaderno</vt:lpstr>
      <vt:lpstr>Quaderno</vt:lpstr>
      <vt:lpstr>Quaderno</vt:lpstr>
      <vt:lpstr>Screenshots for workflow</vt:lpstr>
      <vt:lpstr>Screenshots for workflow</vt:lpstr>
      <vt:lpstr>Screenshots for workflow</vt:lpstr>
      <vt:lpstr>PowerPoint Presentation</vt:lpstr>
    </vt:vector>
  </TitlesOfParts>
  <Company>Softwar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SaaS Name&gt; Provider</dc:title>
  <dc:creator>Bhushan Ray, Vidya</dc:creator>
  <cp:lastModifiedBy>Neha, Neha</cp:lastModifiedBy>
  <cp:revision>1</cp:revision>
  <dcterms:created xsi:type="dcterms:W3CDTF">2022-01-10T12:32:13Z</dcterms:created>
  <dcterms:modified xsi:type="dcterms:W3CDTF">2022-01-30T18:00:59Z</dcterms:modified>
</cp:coreProperties>
</file>